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12"/>
  </p:notesMasterIdLst>
  <p:handoutMasterIdLst>
    <p:handoutMasterId r:id="rId13"/>
  </p:handoutMasterIdLst>
  <p:sldIdLst>
    <p:sldId id="278" r:id="rId6"/>
    <p:sldId id="268" r:id="rId7"/>
    <p:sldId id="280" r:id="rId8"/>
    <p:sldId id="282" r:id="rId9"/>
    <p:sldId id="270" r:id="rId10"/>
    <p:sldId id="281" r:id="rId11"/>
  </p:sldIdLst>
  <p:sldSz cx="9144000" cy="6858000" type="screen4x3"/>
  <p:notesSz cx="6858000" cy="9144000"/>
  <p:custDataLst>
    <p:tags r:id="rId14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16" clrIdx="0">
    <p:extLst/>
  </p:cmAuthor>
  <p:cmAuthor id="2" name="Chimnani, Rajkumar" initials="CR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59B4C"/>
    <a:srgbClr val="FF9900"/>
    <a:srgbClr val="AA1133"/>
    <a:srgbClr val="551155"/>
    <a:srgbClr val="DD4411"/>
    <a:srgbClr val="002266"/>
    <a:srgbClr val="408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87" autoAdjust="0"/>
    <p:restoredTop sz="86404" autoAdjust="0"/>
  </p:normalViewPr>
  <p:slideViewPr>
    <p:cSldViewPr snapToGrid="0" showGuides="1">
      <p:cViewPr varScale="1">
        <p:scale>
          <a:sx n="92" d="100"/>
          <a:sy n="92" d="100"/>
        </p:scale>
        <p:origin x="1374" y="66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outlineViewPr>
    <p:cViewPr>
      <p:scale>
        <a:sx n="33" d="100"/>
        <a:sy n="33" d="100"/>
      </p:scale>
      <p:origin x="0" y="-6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43BFC-411C-4932-84AF-F95B3D323F9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5CFEF5D-6A3C-420A-ADD2-365C63B302B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A5BB9162-F31A-4C77-A5A7-16057C8DD5C2}" type="parTrans" cxnId="{9E1BCEF6-DC52-4147-83A0-D489900552E5}">
      <dgm:prSet/>
      <dgm:spPr/>
      <dgm:t>
        <a:bodyPr/>
        <a:lstStyle/>
        <a:p>
          <a:endParaRPr lang="pt-BR"/>
        </a:p>
      </dgm:t>
    </dgm:pt>
    <dgm:pt modelId="{E6907C63-A233-4DAE-B96D-589B5E60B434}" type="sibTrans" cxnId="{9E1BCEF6-DC52-4147-83A0-D489900552E5}">
      <dgm:prSet/>
      <dgm:spPr/>
      <dgm:t>
        <a:bodyPr/>
        <a:lstStyle/>
        <a:p>
          <a:endParaRPr lang="pt-BR"/>
        </a:p>
      </dgm:t>
    </dgm:pt>
    <dgm:pt modelId="{A67CEFC1-6D07-4C9E-8B9B-16F4DFA5DE3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5EB51751-5104-4F4F-84E6-C5AB9C5DEB0E}" type="parTrans" cxnId="{15ACD264-4B48-4EB2-B810-9D956BFDA8D0}">
      <dgm:prSet/>
      <dgm:spPr/>
      <dgm:t>
        <a:bodyPr/>
        <a:lstStyle/>
        <a:p>
          <a:endParaRPr lang="pt-BR"/>
        </a:p>
      </dgm:t>
    </dgm:pt>
    <dgm:pt modelId="{2EF8CFD4-E9EA-4BA0-9A33-C8F1A9BA201E}" type="sibTrans" cxnId="{15ACD264-4B48-4EB2-B810-9D956BFDA8D0}">
      <dgm:prSet/>
      <dgm:spPr/>
      <dgm:t>
        <a:bodyPr/>
        <a:lstStyle/>
        <a:p>
          <a:endParaRPr lang="pt-BR"/>
        </a:p>
      </dgm:t>
    </dgm:pt>
    <dgm:pt modelId="{B4AC21DC-EC9A-40FF-B178-A91C2EADC8C6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BC6CC89C-0F52-49EE-8FCE-7A600796F706}" type="parTrans" cxnId="{7E65CBE5-1855-4622-917B-5C42C8450EB3}">
      <dgm:prSet/>
      <dgm:spPr/>
      <dgm:t>
        <a:bodyPr/>
        <a:lstStyle/>
        <a:p>
          <a:endParaRPr lang="pt-BR"/>
        </a:p>
      </dgm:t>
    </dgm:pt>
    <dgm:pt modelId="{0DEF3A54-425B-425D-9087-3815B7A4B7CF}" type="sibTrans" cxnId="{7E65CBE5-1855-4622-917B-5C42C8450EB3}">
      <dgm:prSet/>
      <dgm:spPr/>
      <dgm:t>
        <a:bodyPr/>
        <a:lstStyle/>
        <a:p>
          <a:endParaRPr lang="pt-BR"/>
        </a:p>
      </dgm:t>
    </dgm:pt>
    <dgm:pt modelId="{2EA225CC-2E49-44ED-8CC1-3CCBF84AD379}" type="pres">
      <dgm:prSet presAssocID="{89543BFC-411C-4932-84AF-F95B3D323F9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9CF0B2A-E4E4-4B79-9291-B91AB5224007}" type="pres">
      <dgm:prSet presAssocID="{B5CFEF5D-6A3C-420A-ADD2-365C63B302B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9BEAEE-8AF8-4D52-8651-CC1937F1A321}" type="pres">
      <dgm:prSet presAssocID="{B5CFEF5D-6A3C-420A-ADD2-365C63B302B9}" presName="gear1srcNode" presStyleLbl="node1" presStyleIdx="0" presStyleCnt="3"/>
      <dgm:spPr/>
      <dgm:t>
        <a:bodyPr/>
        <a:lstStyle/>
        <a:p>
          <a:endParaRPr lang="pt-BR"/>
        </a:p>
      </dgm:t>
    </dgm:pt>
    <dgm:pt modelId="{8DC6C1E0-B984-4F7F-A090-7E6A8EDF7369}" type="pres">
      <dgm:prSet presAssocID="{B5CFEF5D-6A3C-420A-ADD2-365C63B302B9}" presName="gear1dstNode" presStyleLbl="node1" presStyleIdx="0" presStyleCnt="3"/>
      <dgm:spPr/>
      <dgm:t>
        <a:bodyPr/>
        <a:lstStyle/>
        <a:p>
          <a:endParaRPr lang="pt-BR"/>
        </a:p>
      </dgm:t>
    </dgm:pt>
    <dgm:pt modelId="{E2C9D73F-FB76-4109-9C3B-CDD964B9A9DF}" type="pres">
      <dgm:prSet presAssocID="{A67CEFC1-6D07-4C9E-8B9B-16F4DFA5DE3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08E0F8-14DF-4543-B5FB-A17B54BCD50D}" type="pres">
      <dgm:prSet presAssocID="{A67CEFC1-6D07-4C9E-8B9B-16F4DFA5DE31}" presName="gear2srcNode" presStyleLbl="node1" presStyleIdx="1" presStyleCnt="3"/>
      <dgm:spPr/>
      <dgm:t>
        <a:bodyPr/>
        <a:lstStyle/>
        <a:p>
          <a:endParaRPr lang="pt-BR"/>
        </a:p>
      </dgm:t>
    </dgm:pt>
    <dgm:pt modelId="{00883E4F-EDF6-4DBF-8F50-80F81724BAB1}" type="pres">
      <dgm:prSet presAssocID="{A67CEFC1-6D07-4C9E-8B9B-16F4DFA5DE31}" presName="gear2dstNode" presStyleLbl="node1" presStyleIdx="1" presStyleCnt="3"/>
      <dgm:spPr/>
      <dgm:t>
        <a:bodyPr/>
        <a:lstStyle/>
        <a:p>
          <a:endParaRPr lang="pt-BR"/>
        </a:p>
      </dgm:t>
    </dgm:pt>
    <dgm:pt modelId="{2427AE9A-B7B7-44EE-9688-471A19F67348}" type="pres">
      <dgm:prSet presAssocID="{B4AC21DC-EC9A-40FF-B178-A91C2EADC8C6}" presName="gear3" presStyleLbl="node1" presStyleIdx="2" presStyleCnt="3"/>
      <dgm:spPr/>
      <dgm:t>
        <a:bodyPr/>
        <a:lstStyle/>
        <a:p>
          <a:endParaRPr lang="pt-BR"/>
        </a:p>
      </dgm:t>
    </dgm:pt>
    <dgm:pt modelId="{473C5192-4D9E-4697-8CA4-283C87844328}" type="pres">
      <dgm:prSet presAssocID="{B4AC21DC-EC9A-40FF-B178-A91C2EADC8C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D007EEB-61A5-4C7D-B8A4-8E994164C878}" type="pres">
      <dgm:prSet presAssocID="{B4AC21DC-EC9A-40FF-B178-A91C2EADC8C6}" presName="gear3srcNode" presStyleLbl="node1" presStyleIdx="2" presStyleCnt="3"/>
      <dgm:spPr/>
      <dgm:t>
        <a:bodyPr/>
        <a:lstStyle/>
        <a:p>
          <a:endParaRPr lang="pt-BR"/>
        </a:p>
      </dgm:t>
    </dgm:pt>
    <dgm:pt modelId="{746F4FA9-5757-4AAD-9A04-5E552DBB9F9F}" type="pres">
      <dgm:prSet presAssocID="{B4AC21DC-EC9A-40FF-B178-A91C2EADC8C6}" presName="gear3dstNode" presStyleLbl="node1" presStyleIdx="2" presStyleCnt="3"/>
      <dgm:spPr/>
      <dgm:t>
        <a:bodyPr/>
        <a:lstStyle/>
        <a:p>
          <a:endParaRPr lang="pt-BR"/>
        </a:p>
      </dgm:t>
    </dgm:pt>
    <dgm:pt modelId="{1D106DD1-2D3A-4EAC-B3CC-942B5CA4B912}" type="pres">
      <dgm:prSet presAssocID="{E6907C63-A233-4DAE-B96D-589B5E60B434}" presName="connector1" presStyleLbl="sibTrans2D1" presStyleIdx="0" presStyleCnt="3"/>
      <dgm:spPr/>
      <dgm:t>
        <a:bodyPr/>
        <a:lstStyle/>
        <a:p>
          <a:endParaRPr lang="pt-BR"/>
        </a:p>
      </dgm:t>
    </dgm:pt>
    <dgm:pt modelId="{0D328973-7EA0-4BDA-8345-B35D0D5F9918}" type="pres">
      <dgm:prSet presAssocID="{2EF8CFD4-E9EA-4BA0-9A33-C8F1A9BA201E}" presName="connector2" presStyleLbl="sibTrans2D1" presStyleIdx="1" presStyleCnt="3"/>
      <dgm:spPr/>
      <dgm:t>
        <a:bodyPr/>
        <a:lstStyle/>
        <a:p>
          <a:endParaRPr lang="pt-BR"/>
        </a:p>
      </dgm:t>
    </dgm:pt>
    <dgm:pt modelId="{A6069DFB-10A0-41DC-94CF-D614D68D696C}" type="pres">
      <dgm:prSet presAssocID="{0DEF3A54-425B-425D-9087-3815B7A4B7CF}" presName="connector3" presStyleLbl="sibTrans2D1" presStyleIdx="2" presStyleCnt="3"/>
      <dgm:spPr/>
      <dgm:t>
        <a:bodyPr/>
        <a:lstStyle/>
        <a:p>
          <a:endParaRPr lang="pt-BR"/>
        </a:p>
      </dgm:t>
    </dgm:pt>
  </dgm:ptLst>
  <dgm:cxnLst>
    <dgm:cxn modelId="{AE5813AF-40EF-4675-B2BD-79CB37560D86}" type="presOf" srcId="{B5CFEF5D-6A3C-420A-ADD2-365C63B302B9}" destId="{8DC6C1E0-B984-4F7F-A090-7E6A8EDF7369}" srcOrd="2" destOrd="0" presId="urn:microsoft.com/office/officeart/2005/8/layout/gear1"/>
    <dgm:cxn modelId="{C453F739-4913-408B-930C-1BE61649ECAE}" type="presOf" srcId="{B4AC21DC-EC9A-40FF-B178-A91C2EADC8C6}" destId="{473C5192-4D9E-4697-8CA4-283C87844328}" srcOrd="1" destOrd="0" presId="urn:microsoft.com/office/officeart/2005/8/layout/gear1"/>
    <dgm:cxn modelId="{347D6379-1C36-4939-AAA7-431570B3C207}" type="presOf" srcId="{E6907C63-A233-4DAE-B96D-589B5E60B434}" destId="{1D106DD1-2D3A-4EAC-B3CC-942B5CA4B912}" srcOrd="0" destOrd="0" presId="urn:microsoft.com/office/officeart/2005/8/layout/gear1"/>
    <dgm:cxn modelId="{506061F5-8437-4895-9D8B-0AAF6CECCAEC}" type="presOf" srcId="{B4AC21DC-EC9A-40FF-B178-A91C2EADC8C6}" destId="{746F4FA9-5757-4AAD-9A04-5E552DBB9F9F}" srcOrd="3" destOrd="0" presId="urn:microsoft.com/office/officeart/2005/8/layout/gear1"/>
    <dgm:cxn modelId="{9E1BCEF6-DC52-4147-83A0-D489900552E5}" srcId="{89543BFC-411C-4932-84AF-F95B3D323F93}" destId="{B5CFEF5D-6A3C-420A-ADD2-365C63B302B9}" srcOrd="0" destOrd="0" parTransId="{A5BB9162-F31A-4C77-A5A7-16057C8DD5C2}" sibTransId="{E6907C63-A233-4DAE-B96D-589B5E60B434}"/>
    <dgm:cxn modelId="{2C60923A-D293-4208-A955-51E69E253F16}" type="presOf" srcId="{B4AC21DC-EC9A-40FF-B178-A91C2EADC8C6}" destId="{BD007EEB-61A5-4C7D-B8A4-8E994164C878}" srcOrd="2" destOrd="0" presId="urn:microsoft.com/office/officeart/2005/8/layout/gear1"/>
    <dgm:cxn modelId="{3414FF01-68AE-4B10-9A92-2BC08DF13FA9}" type="presOf" srcId="{B5CFEF5D-6A3C-420A-ADD2-365C63B302B9}" destId="{D9CF0B2A-E4E4-4B79-9291-B91AB5224007}" srcOrd="0" destOrd="0" presId="urn:microsoft.com/office/officeart/2005/8/layout/gear1"/>
    <dgm:cxn modelId="{F3E4B099-8808-4418-AF24-2DC3E2E3DACA}" type="presOf" srcId="{B5CFEF5D-6A3C-420A-ADD2-365C63B302B9}" destId="{1C9BEAEE-8AF8-4D52-8651-CC1937F1A321}" srcOrd="1" destOrd="0" presId="urn:microsoft.com/office/officeart/2005/8/layout/gear1"/>
    <dgm:cxn modelId="{9DF5AC79-9D19-467E-8FD6-129D11647155}" type="presOf" srcId="{B4AC21DC-EC9A-40FF-B178-A91C2EADC8C6}" destId="{2427AE9A-B7B7-44EE-9688-471A19F67348}" srcOrd="0" destOrd="0" presId="urn:microsoft.com/office/officeart/2005/8/layout/gear1"/>
    <dgm:cxn modelId="{D77F9872-F565-4496-B451-CFDEC10FADAC}" type="presOf" srcId="{89543BFC-411C-4932-84AF-F95B3D323F93}" destId="{2EA225CC-2E49-44ED-8CC1-3CCBF84AD379}" srcOrd="0" destOrd="0" presId="urn:microsoft.com/office/officeart/2005/8/layout/gear1"/>
    <dgm:cxn modelId="{9B3158D0-E6ED-4937-BF9F-FA3B4B0B2DBF}" type="presOf" srcId="{2EF8CFD4-E9EA-4BA0-9A33-C8F1A9BA201E}" destId="{0D328973-7EA0-4BDA-8345-B35D0D5F9918}" srcOrd="0" destOrd="0" presId="urn:microsoft.com/office/officeart/2005/8/layout/gear1"/>
    <dgm:cxn modelId="{2946A790-C8E8-4DBF-B92D-534C273366A3}" type="presOf" srcId="{0DEF3A54-425B-425D-9087-3815B7A4B7CF}" destId="{A6069DFB-10A0-41DC-94CF-D614D68D696C}" srcOrd="0" destOrd="0" presId="urn:microsoft.com/office/officeart/2005/8/layout/gear1"/>
    <dgm:cxn modelId="{FD932DAD-0459-41C3-AA20-D1B09B02D816}" type="presOf" srcId="{A67CEFC1-6D07-4C9E-8B9B-16F4DFA5DE31}" destId="{9508E0F8-14DF-4543-B5FB-A17B54BCD50D}" srcOrd="1" destOrd="0" presId="urn:microsoft.com/office/officeart/2005/8/layout/gear1"/>
    <dgm:cxn modelId="{15ACD264-4B48-4EB2-B810-9D956BFDA8D0}" srcId="{89543BFC-411C-4932-84AF-F95B3D323F93}" destId="{A67CEFC1-6D07-4C9E-8B9B-16F4DFA5DE31}" srcOrd="1" destOrd="0" parTransId="{5EB51751-5104-4F4F-84E6-C5AB9C5DEB0E}" sibTransId="{2EF8CFD4-E9EA-4BA0-9A33-C8F1A9BA201E}"/>
    <dgm:cxn modelId="{7E65CBE5-1855-4622-917B-5C42C8450EB3}" srcId="{89543BFC-411C-4932-84AF-F95B3D323F93}" destId="{B4AC21DC-EC9A-40FF-B178-A91C2EADC8C6}" srcOrd="2" destOrd="0" parTransId="{BC6CC89C-0F52-49EE-8FCE-7A600796F706}" sibTransId="{0DEF3A54-425B-425D-9087-3815B7A4B7CF}"/>
    <dgm:cxn modelId="{C55FBF6F-0A02-4644-91DD-869E0B975378}" type="presOf" srcId="{A67CEFC1-6D07-4C9E-8B9B-16F4DFA5DE31}" destId="{E2C9D73F-FB76-4109-9C3B-CDD964B9A9DF}" srcOrd="0" destOrd="0" presId="urn:microsoft.com/office/officeart/2005/8/layout/gear1"/>
    <dgm:cxn modelId="{7CCA82E1-0B97-4BB7-BA08-E05066BC2687}" type="presOf" srcId="{A67CEFC1-6D07-4C9E-8B9B-16F4DFA5DE31}" destId="{00883E4F-EDF6-4DBF-8F50-80F81724BAB1}" srcOrd="2" destOrd="0" presId="urn:microsoft.com/office/officeart/2005/8/layout/gear1"/>
    <dgm:cxn modelId="{6A5F8CDF-5069-43CF-9E5D-AED35F921B8A}" type="presParOf" srcId="{2EA225CC-2E49-44ED-8CC1-3CCBF84AD379}" destId="{D9CF0B2A-E4E4-4B79-9291-B91AB5224007}" srcOrd="0" destOrd="0" presId="urn:microsoft.com/office/officeart/2005/8/layout/gear1"/>
    <dgm:cxn modelId="{10F0C8B1-B0F1-4443-8D0E-79B857791424}" type="presParOf" srcId="{2EA225CC-2E49-44ED-8CC1-3CCBF84AD379}" destId="{1C9BEAEE-8AF8-4D52-8651-CC1937F1A321}" srcOrd="1" destOrd="0" presId="urn:microsoft.com/office/officeart/2005/8/layout/gear1"/>
    <dgm:cxn modelId="{B9B93C88-ED76-467E-863C-36AB6744F85C}" type="presParOf" srcId="{2EA225CC-2E49-44ED-8CC1-3CCBF84AD379}" destId="{8DC6C1E0-B984-4F7F-A090-7E6A8EDF7369}" srcOrd="2" destOrd="0" presId="urn:microsoft.com/office/officeart/2005/8/layout/gear1"/>
    <dgm:cxn modelId="{D6521D39-164D-4EE8-8CBF-835365D7F324}" type="presParOf" srcId="{2EA225CC-2E49-44ED-8CC1-3CCBF84AD379}" destId="{E2C9D73F-FB76-4109-9C3B-CDD964B9A9DF}" srcOrd="3" destOrd="0" presId="urn:microsoft.com/office/officeart/2005/8/layout/gear1"/>
    <dgm:cxn modelId="{C2C6A017-3BA9-4050-8817-9E8C6D1DA568}" type="presParOf" srcId="{2EA225CC-2E49-44ED-8CC1-3CCBF84AD379}" destId="{9508E0F8-14DF-4543-B5FB-A17B54BCD50D}" srcOrd="4" destOrd="0" presId="urn:microsoft.com/office/officeart/2005/8/layout/gear1"/>
    <dgm:cxn modelId="{5ACCFB2F-0D50-4413-B9B3-E4D17F04A6BC}" type="presParOf" srcId="{2EA225CC-2E49-44ED-8CC1-3CCBF84AD379}" destId="{00883E4F-EDF6-4DBF-8F50-80F81724BAB1}" srcOrd="5" destOrd="0" presId="urn:microsoft.com/office/officeart/2005/8/layout/gear1"/>
    <dgm:cxn modelId="{2324C12B-50D7-42D1-A2D9-49A03A35A14D}" type="presParOf" srcId="{2EA225CC-2E49-44ED-8CC1-3CCBF84AD379}" destId="{2427AE9A-B7B7-44EE-9688-471A19F67348}" srcOrd="6" destOrd="0" presId="urn:microsoft.com/office/officeart/2005/8/layout/gear1"/>
    <dgm:cxn modelId="{12539367-C140-45CE-B6B6-34BE54809F36}" type="presParOf" srcId="{2EA225CC-2E49-44ED-8CC1-3CCBF84AD379}" destId="{473C5192-4D9E-4697-8CA4-283C87844328}" srcOrd="7" destOrd="0" presId="urn:microsoft.com/office/officeart/2005/8/layout/gear1"/>
    <dgm:cxn modelId="{4A453EEE-AD98-4FA6-AF99-271681DD0E0A}" type="presParOf" srcId="{2EA225CC-2E49-44ED-8CC1-3CCBF84AD379}" destId="{BD007EEB-61A5-4C7D-B8A4-8E994164C878}" srcOrd="8" destOrd="0" presId="urn:microsoft.com/office/officeart/2005/8/layout/gear1"/>
    <dgm:cxn modelId="{CC02011C-9A8B-4663-87C0-02AFE84E7078}" type="presParOf" srcId="{2EA225CC-2E49-44ED-8CC1-3CCBF84AD379}" destId="{746F4FA9-5757-4AAD-9A04-5E552DBB9F9F}" srcOrd="9" destOrd="0" presId="urn:microsoft.com/office/officeart/2005/8/layout/gear1"/>
    <dgm:cxn modelId="{92085124-3582-454D-8C35-3205A834F238}" type="presParOf" srcId="{2EA225CC-2E49-44ED-8CC1-3CCBF84AD379}" destId="{1D106DD1-2D3A-4EAC-B3CC-942B5CA4B912}" srcOrd="10" destOrd="0" presId="urn:microsoft.com/office/officeart/2005/8/layout/gear1"/>
    <dgm:cxn modelId="{FA108509-3DFC-4EEF-A3C8-26FBFD42BF1E}" type="presParOf" srcId="{2EA225CC-2E49-44ED-8CC1-3CCBF84AD379}" destId="{0D328973-7EA0-4BDA-8345-B35D0D5F9918}" srcOrd="11" destOrd="0" presId="urn:microsoft.com/office/officeart/2005/8/layout/gear1"/>
    <dgm:cxn modelId="{60ECA094-16C5-49E5-A6E1-2E2B8FB79F5A}" type="presParOf" srcId="{2EA225CC-2E49-44ED-8CC1-3CCBF84AD379}" destId="{A6069DFB-10A0-41DC-94CF-D614D68D696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F900E-8C12-4BFD-BBDB-E325B9398904}" type="doc">
      <dgm:prSet loTypeId="urn:microsoft.com/office/officeart/2005/8/layout/pyramid4" loCatId="pyramid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314EE2F-1D85-463E-BD29-E4D93DDC1295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3E6E2FB2-9D86-4145-A67D-A4A87996BC5F}" type="parTrans" cxnId="{56BEEB81-B007-4EA1-855C-FA3018BD0661}">
      <dgm:prSet/>
      <dgm:spPr/>
      <dgm:t>
        <a:bodyPr/>
        <a:lstStyle/>
        <a:p>
          <a:endParaRPr lang="pt-BR"/>
        </a:p>
      </dgm:t>
    </dgm:pt>
    <dgm:pt modelId="{68D50B66-F1D5-454F-B8A3-3E6431DE03D9}" type="sibTrans" cxnId="{56BEEB81-B007-4EA1-855C-FA3018BD0661}">
      <dgm:prSet/>
      <dgm:spPr/>
      <dgm:t>
        <a:bodyPr/>
        <a:lstStyle/>
        <a:p>
          <a:endParaRPr lang="pt-BR"/>
        </a:p>
      </dgm:t>
    </dgm:pt>
    <dgm:pt modelId="{CCAFF948-E824-4B26-BEF8-E377FB33BB7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DA16593C-F232-4863-B9D7-BFA498FC05BB}" type="parTrans" cxnId="{A9FB569C-391B-443D-B7EC-F8B6A083D079}">
      <dgm:prSet/>
      <dgm:spPr/>
      <dgm:t>
        <a:bodyPr/>
        <a:lstStyle/>
        <a:p>
          <a:endParaRPr lang="pt-BR"/>
        </a:p>
      </dgm:t>
    </dgm:pt>
    <dgm:pt modelId="{0473B294-0645-4B1B-AD4C-F4E43CE58275}" type="sibTrans" cxnId="{A9FB569C-391B-443D-B7EC-F8B6A083D079}">
      <dgm:prSet/>
      <dgm:spPr/>
      <dgm:t>
        <a:bodyPr/>
        <a:lstStyle/>
        <a:p>
          <a:endParaRPr lang="pt-BR"/>
        </a:p>
      </dgm:t>
    </dgm:pt>
    <dgm:pt modelId="{6BBB511E-E8E4-4B74-A314-88D6D7CD540C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903E0939-0B48-45FA-96A6-1C18C610807D}" type="parTrans" cxnId="{FFDA9CEE-6D86-4CAC-B87A-FCFFD165664B}">
      <dgm:prSet/>
      <dgm:spPr/>
      <dgm:t>
        <a:bodyPr/>
        <a:lstStyle/>
        <a:p>
          <a:endParaRPr lang="pt-BR"/>
        </a:p>
      </dgm:t>
    </dgm:pt>
    <dgm:pt modelId="{63F78780-3C4F-442A-8C5B-824F086D0289}" type="sibTrans" cxnId="{FFDA9CEE-6D86-4CAC-B87A-FCFFD165664B}">
      <dgm:prSet/>
      <dgm:spPr/>
      <dgm:t>
        <a:bodyPr/>
        <a:lstStyle/>
        <a:p>
          <a:endParaRPr lang="pt-BR"/>
        </a:p>
      </dgm:t>
    </dgm:pt>
    <dgm:pt modelId="{F9BF7ABB-0667-4304-89B4-F2A4A15BB82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69BCA73F-D01C-48C8-91C4-BF69BC037300}" type="parTrans" cxnId="{086F983A-6C4E-4971-B93C-2258AEF3EDE4}">
      <dgm:prSet/>
      <dgm:spPr/>
      <dgm:t>
        <a:bodyPr/>
        <a:lstStyle/>
        <a:p>
          <a:endParaRPr lang="pt-BR"/>
        </a:p>
      </dgm:t>
    </dgm:pt>
    <dgm:pt modelId="{F51FEDC6-6252-4C55-B493-A7A0BD8F3AB5}" type="sibTrans" cxnId="{086F983A-6C4E-4971-B93C-2258AEF3EDE4}">
      <dgm:prSet/>
      <dgm:spPr/>
      <dgm:t>
        <a:bodyPr/>
        <a:lstStyle/>
        <a:p>
          <a:endParaRPr lang="pt-BR"/>
        </a:p>
      </dgm:t>
    </dgm:pt>
    <dgm:pt modelId="{B20675A2-03EE-4DCD-82FA-BB78A0EAE284}" type="pres">
      <dgm:prSet presAssocID="{F69F900E-8C12-4BFD-BBDB-E325B939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433F73-E662-4882-9F7F-758FD3AE30B7}" type="pres">
      <dgm:prSet presAssocID="{F69F900E-8C12-4BFD-BBDB-E325B939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A0B4D2-89D2-4A8F-917F-F074B8961B3D}" type="pres">
      <dgm:prSet presAssocID="{F69F900E-8C12-4BFD-BBDB-E325B939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CC81336-869F-411B-9391-B04824C3D716}" type="pres">
      <dgm:prSet presAssocID="{F69F900E-8C12-4BFD-BBDB-E325B939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55E634-30BF-4B53-8E9F-76C4E7C0546C}" type="pres">
      <dgm:prSet presAssocID="{F69F900E-8C12-4BFD-BBDB-E325B939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86F983A-6C4E-4971-B93C-2258AEF3EDE4}" srcId="{F69F900E-8C12-4BFD-BBDB-E325B9398904}" destId="{F9BF7ABB-0667-4304-89B4-F2A4A15BB821}" srcOrd="3" destOrd="0" parTransId="{69BCA73F-D01C-48C8-91C4-BF69BC037300}" sibTransId="{F51FEDC6-6252-4C55-B493-A7A0BD8F3AB5}"/>
    <dgm:cxn modelId="{56BEEB81-B007-4EA1-855C-FA3018BD0661}" srcId="{F69F900E-8C12-4BFD-BBDB-E325B9398904}" destId="{4314EE2F-1D85-463E-BD29-E4D93DDC1295}" srcOrd="0" destOrd="0" parTransId="{3E6E2FB2-9D86-4145-A67D-A4A87996BC5F}" sibTransId="{68D50B66-F1D5-454F-B8A3-3E6431DE03D9}"/>
    <dgm:cxn modelId="{C646E294-4B70-4B20-B331-F20A91924945}" type="presOf" srcId="{4314EE2F-1D85-463E-BD29-E4D93DDC1295}" destId="{64433F73-E662-4882-9F7F-758FD3AE30B7}" srcOrd="0" destOrd="0" presId="urn:microsoft.com/office/officeart/2005/8/layout/pyramid4"/>
    <dgm:cxn modelId="{FFDA9CEE-6D86-4CAC-B87A-FCFFD165664B}" srcId="{F69F900E-8C12-4BFD-BBDB-E325B9398904}" destId="{6BBB511E-E8E4-4B74-A314-88D6D7CD540C}" srcOrd="2" destOrd="0" parTransId="{903E0939-0B48-45FA-96A6-1C18C610807D}" sibTransId="{63F78780-3C4F-442A-8C5B-824F086D0289}"/>
    <dgm:cxn modelId="{931513E8-5819-4E7A-9C98-5B0FE88052BF}" type="presOf" srcId="{F69F900E-8C12-4BFD-BBDB-E325B9398904}" destId="{B20675A2-03EE-4DCD-82FA-BB78A0EAE284}" srcOrd="0" destOrd="0" presId="urn:microsoft.com/office/officeart/2005/8/layout/pyramid4"/>
    <dgm:cxn modelId="{1C822401-15F4-4A9D-B7E5-640C036B2D82}" type="presOf" srcId="{F9BF7ABB-0667-4304-89B4-F2A4A15BB821}" destId="{C955E634-30BF-4B53-8E9F-76C4E7C0546C}" srcOrd="0" destOrd="0" presId="urn:microsoft.com/office/officeart/2005/8/layout/pyramid4"/>
    <dgm:cxn modelId="{A9FB569C-391B-443D-B7EC-F8B6A083D079}" srcId="{F69F900E-8C12-4BFD-BBDB-E325B9398904}" destId="{CCAFF948-E824-4B26-BEF8-E377FB33BB79}" srcOrd="1" destOrd="0" parTransId="{DA16593C-F232-4863-B9D7-BFA498FC05BB}" sibTransId="{0473B294-0645-4B1B-AD4C-F4E43CE58275}"/>
    <dgm:cxn modelId="{D2EF30F0-0010-432B-8E36-E24E7585B4A3}" type="presOf" srcId="{6BBB511E-E8E4-4B74-A314-88D6D7CD540C}" destId="{FCC81336-869F-411B-9391-B04824C3D716}" srcOrd="0" destOrd="0" presId="urn:microsoft.com/office/officeart/2005/8/layout/pyramid4"/>
    <dgm:cxn modelId="{9A2D2975-3908-42C0-B04D-CCC7F5CEB029}" type="presOf" srcId="{CCAFF948-E824-4B26-BEF8-E377FB33BB79}" destId="{0DA0B4D2-89D2-4A8F-917F-F074B8961B3D}" srcOrd="0" destOrd="0" presId="urn:microsoft.com/office/officeart/2005/8/layout/pyramid4"/>
    <dgm:cxn modelId="{6475D149-DC44-4822-92D4-D8EB95F37C4B}" type="presParOf" srcId="{B20675A2-03EE-4DCD-82FA-BB78A0EAE284}" destId="{64433F73-E662-4882-9F7F-758FD3AE30B7}" srcOrd="0" destOrd="0" presId="urn:microsoft.com/office/officeart/2005/8/layout/pyramid4"/>
    <dgm:cxn modelId="{345D5A5A-0E8A-40E9-9E59-957C1198C546}" type="presParOf" srcId="{B20675A2-03EE-4DCD-82FA-BB78A0EAE284}" destId="{0DA0B4D2-89D2-4A8F-917F-F074B8961B3D}" srcOrd="1" destOrd="0" presId="urn:microsoft.com/office/officeart/2005/8/layout/pyramid4"/>
    <dgm:cxn modelId="{AEA6BC45-92F6-4C26-B3DB-DCFA8A2F6892}" type="presParOf" srcId="{B20675A2-03EE-4DCD-82FA-BB78A0EAE284}" destId="{FCC81336-869F-411B-9391-B04824C3D716}" srcOrd="2" destOrd="0" presId="urn:microsoft.com/office/officeart/2005/8/layout/pyramid4"/>
    <dgm:cxn modelId="{65C45AC4-08A9-4E0A-81B2-64D253031B22}" type="presParOf" srcId="{B20675A2-03EE-4DCD-82FA-BB78A0EAE284}" destId="{C955E634-30BF-4B53-8E9F-76C4E7C0546C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9790066-A1BB-4D2B-ABCD-D585B1F6B9E8}" type="doc">
      <dgm:prSet loTypeId="urn:microsoft.com/office/officeart/2005/8/layout/process4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pt-BR"/>
        </a:p>
      </dgm:t>
    </dgm:pt>
    <dgm:pt modelId="{16C64C04-4E64-4955-8890-2260E3A0728F}">
      <dgm:prSet phldrT="[Text]"/>
      <dgm:spPr/>
      <dgm:t>
        <a:bodyPr/>
        <a:lstStyle/>
        <a:p>
          <a:r>
            <a:rPr lang="en-US" dirty="0" smtClean="0"/>
            <a:t>OPEN_ITEM_ID_REF</a:t>
          </a:r>
          <a:endParaRPr lang="pt-BR" dirty="0"/>
        </a:p>
      </dgm:t>
    </dgm:pt>
    <dgm:pt modelId="{05D03D55-87CE-4C59-86BA-16944843B6CD}" type="parTrans" cxnId="{CA83B112-2C45-4522-A0C6-7E504A84376C}">
      <dgm:prSet/>
      <dgm:spPr/>
      <dgm:t>
        <a:bodyPr/>
        <a:lstStyle/>
        <a:p>
          <a:endParaRPr lang="pt-BR"/>
        </a:p>
      </dgm:t>
    </dgm:pt>
    <dgm:pt modelId="{AF0B2142-6F01-44B9-8CE2-70402BD05605}" type="sibTrans" cxnId="{CA83B112-2C45-4522-A0C6-7E504A84376C}">
      <dgm:prSet/>
      <dgm:spPr/>
      <dgm:t>
        <a:bodyPr/>
        <a:lstStyle/>
        <a:p>
          <a:endParaRPr lang="pt-BR"/>
        </a:p>
      </dgm:t>
    </dgm:pt>
    <dgm:pt modelId="{EEF79913-2CF2-4A0B-9FD8-5F54C4F10AD2}">
      <dgm:prSet phldrT="[Text]"/>
      <dgm:spPr/>
      <dgm:t>
        <a:bodyPr/>
        <a:lstStyle/>
        <a:p>
          <a:r>
            <a:rPr lang="en-US" dirty="0" smtClean="0"/>
            <a:t>OPEN_ITEM_ID_VALUES</a:t>
          </a:r>
          <a:endParaRPr lang="pt-BR" dirty="0"/>
        </a:p>
      </dgm:t>
    </dgm:pt>
    <dgm:pt modelId="{BDF10A83-2061-4187-B315-FFC41323F5BE}" type="parTrans" cxnId="{108AD076-4535-402C-9C1F-98201F439692}">
      <dgm:prSet/>
      <dgm:spPr/>
      <dgm:t>
        <a:bodyPr/>
        <a:lstStyle/>
        <a:p>
          <a:endParaRPr lang="pt-BR"/>
        </a:p>
      </dgm:t>
    </dgm:pt>
    <dgm:pt modelId="{B8992A25-9B38-4F45-AB0D-E39FD16279B9}" type="sibTrans" cxnId="{108AD076-4535-402C-9C1F-98201F439692}">
      <dgm:prSet/>
      <dgm:spPr/>
      <dgm:t>
        <a:bodyPr/>
        <a:lstStyle/>
        <a:p>
          <a:endParaRPr lang="pt-BR"/>
        </a:p>
      </dgm:t>
    </dgm:pt>
    <dgm:pt modelId="{15865A3D-2C27-4737-AE97-41A10283D973}">
      <dgm:prSet/>
      <dgm:spPr/>
      <dgm:t>
        <a:bodyPr/>
        <a:lstStyle/>
        <a:p>
          <a:r>
            <a:rPr lang="en-US" dirty="0" smtClean="0"/>
            <a:t>DESCRIPTIONS</a:t>
          </a:r>
          <a:endParaRPr lang="pt-BR" dirty="0"/>
        </a:p>
      </dgm:t>
    </dgm:pt>
    <dgm:pt modelId="{C5B1BC41-A6E4-4A49-83AC-A8B8B33CC5A5}" type="parTrans" cxnId="{5CDFC872-09D1-423A-A900-F7DCA3627164}">
      <dgm:prSet/>
      <dgm:spPr/>
      <dgm:t>
        <a:bodyPr/>
        <a:lstStyle/>
        <a:p>
          <a:endParaRPr lang="pt-BR"/>
        </a:p>
      </dgm:t>
    </dgm:pt>
    <dgm:pt modelId="{A961A76D-C862-4A99-9C1C-94099B7E0CA2}" type="sibTrans" cxnId="{5CDFC872-09D1-423A-A900-F7DCA3627164}">
      <dgm:prSet/>
      <dgm:spPr/>
      <dgm:t>
        <a:bodyPr/>
        <a:lstStyle/>
        <a:p>
          <a:endParaRPr lang="pt-BR"/>
        </a:p>
      </dgm:t>
    </dgm:pt>
    <dgm:pt modelId="{58987A67-63F3-41AF-A744-CC43A87DB837}">
      <dgm:prSet/>
      <dgm:spPr/>
      <dgm:t>
        <a:bodyPr/>
        <a:lstStyle/>
        <a:p>
          <a:r>
            <a:rPr lang="en-US" dirty="0" smtClean="0"/>
            <a:t>ADJ_TRANS_DESCR</a:t>
          </a:r>
          <a:endParaRPr lang="pt-BR" dirty="0"/>
        </a:p>
      </dgm:t>
    </dgm:pt>
    <dgm:pt modelId="{04E8D63E-B41C-4F41-B7FF-725F1EE433AD}" type="parTrans" cxnId="{23E925B7-7FD0-4681-897D-92406D229F52}">
      <dgm:prSet/>
      <dgm:spPr/>
      <dgm:t>
        <a:bodyPr/>
        <a:lstStyle/>
        <a:p>
          <a:endParaRPr lang="pt-BR"/>
        </a:p>
      </dgm:t>
    </dgm:pt>
    <dgm:pt modelId="{DF2E4033-2FD0-4134-B5EF-7A544F502A6E}" type="sibTrans" cxnId="{23E925B7-7FD0-4681-897D-92406D229F52}">
      <dgm:prSet/>
      <dgm:spPr/>
      <dgm:t>
        <a:bodyPr/>
        <a:lstStyle/>
        <a:p>
          <a:endParaRPr lang="pt-BR"/>
        </a:p>
      </dgm:t>
    </dgm:pt>
    <dgm:pt modelId="{2027620D-6AD7-475A-B9C6-039A1FBCFD0B}">
      <dgm:prSet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TBI_OPEN_ITEM</a:t>
          </a:r>
          <a:endParaRPr lang="pt-BR" dirty="0"/>
        </a:p>
      </dgm:t>
    </dgm:pt>
    <dgm:pt modelId="{C54495E8-F49C-48F9-8992-B8CAFCF6EA3B}" type="parTrans" cxnId="{C4799CCB-62F3-48CC-B55D-A63704C91B7E}">
      <dgm:prSet/>
      <dgm:spPr/>
      <dgm:t>
        <a:bodyPr/>
        <a:lstStyle/>
        <a:p>
          <a:endParaRPr lang="en-US"/>
        </a:p>
      </dgm:t>
    </dgm:pt>
    <dgm:pt modelId="{0AED1072-47A5-4F86-A93B-1AEDC13B7D82}" type="sibTrans" cxnId="{C4799CCB-62F3-48CC-B55D-A63704C91B7E}">
      <dgm:prSet/>
      <dgm:spPr/>
      <dgm:t>
        <a:bodyPr/>
        <a:lstStyle/>
        <a:p>
          <a:endParaRPr lang="en-US"/>
        </a:p>
      </dgm:t>
    </dgm:pt>
    <dgm:pt modelId="{FBB59743-E91B-4342-B1C3-10AC54235CD1}">
      <dgm:prSet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OIBIF_EMPRESAS</a:t>
          </a:r>
          <a:endParaRPr lang="pt-BR" dirty="0"/>
        </a:p>
      </dgm:t>
    </dgm:pt>
    <dgm:pt modelId="{F3D718EF-4A74-48B8-9B4B-AA7059A42563}" type="parTrans" cxnId="{7761C977-C999-4376-AA8D-7F732B6E95B8}">
      <dgm:prSet/>
      <dgm:spPr/>
      <dgm:t>
        <a:bodyPr/>
        <a:lstStyle/>
        <a:p>
          <a:endParaRPr lang="en-US"/>
        </a:p>
      </dgm:t>
    </dgm:pt>
    <dgm:pt modelId="{155E87E2-3427-4911-8E79-DB5F6D5CF58D}" type="sibTrans" cxnId="{7761C977-C999-4376-AA8D-7F732B6E95B8}">
      <dgm:prSet/>
      <dgm:spPr/>
      <dgm:t>
        <a:bodyPr/>
        <a:lstStyle/>
        <a:p>
          <a:endParaRPr lang="en-US"/>
        </a:p>
      </dgm:t>
    </dgm:pt>
    <dgm:pt modelId="{87F411BF-62C3-4B09-AC64-F92E3EE711BA}">
      <dgm:prSet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CONTROLE_NUM_NOTAS_FISCAIS</a:t>
          </a:r>
          <a:endParaRPr lang="pt-BR" dirty="0"/>
        </a:p>
      </dgm:t>
    </dgm:pt>
    <dgm:pt modelId="{ABBFFA79-602F-4270-9CB3-E7F659FC1620}" type="parTrans" cxnId="{BFB34190-D9CB-4B74-ABE6-5DE9DAFEA8CC}">
      <dgm:prSet/>
      <dgm:spPr/>
      <dgm:t>
        <a:bodyPr/>
        <a:lstStyle/>
        <a:p>
          <a:endParaRPr lang="en-US"/>
        </a:p>
      </dgm:t>
    </dgm:pt>
    <dgm:pt modelId="{C54B9384-3B2B-4F19-A4F8-2BB794CE07D0}" type="sibTrans" cxnId="{BFB34190-D9CB-4B74-ABE6-5DE9DAFEA8CC}">
      <dgm:prSet/>
      <dgm:spPr/>
      <dgm:t>
        <a:bodyPr/>
        <a:lstStyle/>
        <a:p>
          <a:endParaRPr lang="en-US"/>
        </a:p>
      </dgm:t>
    </dgm:pt>
    <dgm:pt modelId="{36281D6B-8F62-4398-BC6F-23EE137CEF0A}">
      <dgm:prSet phldrT="[Text]"/>
      <dgm:spPr/>
      <dgm:t>
        <a:bodyPr/>
        <a:lstStyle/>
        <a:p>
          <a:r>
            <a:rPr lang="en-US" dirty="0" smtClean="0"/>
            <a:t>GLOBAL_ACCOUNT_BALANCES</a:t>
          </a:r>
          <a:endParaRPr lang="pt-BR" dirty="0"/>
        </a:p>
      </dgm:t>
    </dgm:pt>
    <dgm:pt modelId="{5F011478-C783-4848-A77B-64F06E7FA252}" type="parTrans" cxnId="{3E78D63D-9250-4E10-AF16-E2DD0E7524CA}">
      <dgm:prSet/>
      <dgm:spPr/>
      <dgm:t>
        <a:bodyPr/>
        <a:lstStyle/>
        <a:p>
          <a:endParaRPr lang="en-US"/>
        </a:p>
      </dgm:t>
    </dgm:pt>
    <dgm:pt modelId="{27054481-6D66-4329-A6E6-F89838A0D3F7}" type="sibTrans" cxnId="{3E78D63D-9250-4E10-AF16-E2DD0E7524CA}">
      <dgm:prSet/>
      <dgm:spPr/>
      <dgm:t>
        <a:bodyPr/>
        <a:lstStyle/>
        <a:p>
          <a:endParaRPr lang="en-US"/>
        </a:p>
      </dgm:t>
    </dgm:pt>
    <dgm:pt modelId="{9523079B-F061-47DC-8757-3ADD83718458}">
      <dgm:prSet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TB_OIBIF_CFG_CSP</a:t>
          </a:r>
          <a:endParaRPr lang="pt-BR" dirty="0"/>
        </a:p>
      </dgm:t>
    </dgm:pt>
    <dgm:pt modelId="{D4F8F556-2AA3-4C9B-A424-0C5830ED00A3}" type="parTrans" cxnId="{41ED8ED6-59E6-4218-A103-277C4E824AE1}">
      <dgm:prSet/>
      <dgm:spPr/>
      <dgm:t>
        <a:bodyPr/>
        <a:lstStyle/>
        <a:p>
          <a:endParaRPr lang="en-US"/>
        </a:p>
      </dgm:t>
    </dgm:pt>
    <dgm:pt modelId="{483B976F-E8B8-4DA4-BD71-93C727575931}" type="sibTrans" cxnId="{41ED8ED6-59E6-4218-A103-277C4E824AE1}">
      <dgm:prSet/>
      <dgm:spPr/>
      <dgm:t>
        <a:bodyPr/>
        <a:lstStyle/>
        <a:p>
          <a:endParaRPr lang="en-US"/>
        </a:p>
      </dgm:t>
    </dgm:pt>
    <dgm:pt modelId="{FC8AC8B8-273D-4349-B4D7-3FC8D89205EE}">
      <dgm:prSet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REP_TRAD_EOT_ANATEL_COD_OI</a:t>
          </a:r>
          <a:endParaRPr lang="pt-BR" dirty="0"/>
        </a:p>
      </dgm:t>
    </dgm:pt>
    <dgm:pt modelId="{24CCD962-78AC-4FE4-8CFC-27974FD3A9F8}" type="parTrans" cxnId="{E27E0CFA-866A-4590-8593-8156FEA57CBB}">
      <dgm:prSet/>
      <dgm:spPr/>
      <dgm:t>
        <a:bodyPr/>
        <a:lstStyle/>
        <a:p>
          <a:endParaRPr lang="en-US"/>
        </a:p>
      </dgm:t>
    </dgm:pt>
    <dgm:pt modelId="{8C5FA31F-76DA-4345-AD00-A2CF9F77C47B}" type="sibTrans" cxnId="{E27E0CFA-866A-4590-8593-8156FEA57CBB}">
      <dgm:prSet/>
      <dgm:spPr/>
      <dgm:t>
        <a:bodyPr/>
        <a:lstStyle/>
        <a:p>
          <a:endParaRPr lang="en-US"/>
        </a:p>
      </dgm:t>
    </dgm:pt>
    <dgm:pt modelId="{62A60D8E-D483-454B-BCD6-EDE1568BD34E}">
      <dgm:prSet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pt-BR" b="1" dirty="0" smtClean="0"/>
            <a:t>INTERIM_CHARGE_TYPES</a:t>
          </a:r>
          <a:endParaRPr lang="pt-BR" dirty="0"/>
        </a:p>
      </dgm:t>
    </dgm:pt>
    <dgm:pt modelId="{39ACB954-3362-4D52-B49E-DAA14A34D59C}" type="parTrans" cxnId="{FD0C4AC4-7A2A-474E-9442-DEC683AC95CE}">
      <dgm:prSet/>
      <dgm:spPr/>
      <dgm:t>
        <a:bodyPr/>
        <a:lstStyle/>
        <a:p>
          <a:endParaRPr lang="en-US"/>
        </a:p>
      </dgm:t>
    </dgm:pt>
    <dgm:pt modelId="{3C6E4B8B-10A0-4586-905B-8A2E9667EF47}" type="sibTrans" cxnId="{FD0C4AC4-7A2A-474E-9442-DEC683AC95CE}">
      <dgm:prSet/>
      <dgm:spPr/>
      <dgm:t>
        <a:bodyPr/>
        <a:lstStyle/>
        <a:p>
          <a:endParaRPr lang="en-US"/>
        </a:p>
      </dgm:t>
    </dgm:pt>
    <dgm:pt modelId="{52604BB6-1924-4ECE-AC5F-690BC7091765}">
      <dgm:prSet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/>
            <a:t>TBI_CFG_IDS_MASSA</a:t>
          </a:r>
          <a:endParaRPr lang="pt-BR" dirty="0"/>
        </a:p>
      </dgm:t>
    </dgm:pt>
    <dgm:pt modelId="{CB018C5D-169B-4041-8556-A19DBB6D27C7}" type="parTrans" cxnId="{AFCD7B31-3550-4E10-85FA-453D3A049F5E}">
      <dgm:prSet/>
      <dgm:spPr/>
      <dgm:t>
        <a:bodyPr/>
        <a:lstStyle/>
        <a:p>
          <a:endParaRPr lang="en-US"/>
        </a:p>
      </dgm:t>
    </dgm:pt>
    <dgm:pt modelId="{8FE93F15-3595-4ADB-90FA-F58E5CA07052}" type="sibTrans" cxnId="{AFCD7B31-3550-4E10-85FA-453D3A049F5E}">
      <dgm:prSet/>
      <dgm:spPr/>
      <dgm:t>
        <a:bodyPr/>
        <a:lstStyle/>
        <a:p>
          <a:endParaRPr lang="en-US"/>
        </a:p>
      </dgm:t>
    </dgm:pt>
    <dgm:pt modelId="{EBCD0B6D-E40D-44EB-8918-ADE8B338FEEE}" type="pres">
      <dgm:prSet presAssocID="{F9790066-A1BB-4D2B-ABCD-D585B1F6B9E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95E13FE9-8E9B-4359-90E4-C8B9B9EB968E}" type="pres">
      <dgm:prSet presAssocID="{52604BB6-1924-4ECE-AC5F-690BC7091765}" presName="boxAndChildren" presStyleCnt="0"/>
      <dgm:spPr/>
    </dgm:pt>
    <dgm:pt modelId="{D7B42521-8A85-49A2-B517-1C848BC5E78F}" type="pres">
      <dgm:prSet presAssocID="{52604BB6-1924-4ECE-AC5F-690BC7091765}" presName="parentTextBox" presStyleLbl="node1" presStyleIdx="0" presStyleCnt="12" custLinFactNeighborX="381" custLinFactNeighborY="393"/>
      <dgm:spPr/>
      <dgm:t>
        <a:bodyPr/>
        <a:lstStyle/>
        <a:p>
          <a:endParaRPr lang="en-US"/>
        </a:p>
      </dgm:t>
    </dgm:pt>
    <dgm:pt modelId="{0D3C7167-FC8E-48DC-9117-A1B81F7ECE64}" type="pres">
      <dgm:prSet presAssocID="{3C6E4B8B-10A0-4586-905B-8A2E9667EF47}" presName="sp" presStyleCnt="0"/>
      <dgm:spPr/>
    </dgm:pt>
    <dgm:pt modelId="{2C63B962-E6C8-44FA-9140-DD65F5B2073B}" type="pres">
      <dgm:prSet presAssocID="{62A60D8E-D483-454B-BCD6-EDE1568BD34E}" presName="arrowAndChildren" presStyleCnt="0"/>
      <dgm:spPr/>
    </dgm:pt>
    <dgm:pt modelId="{B8C54FFF-AFE0-4725-8E80-A07DACBC8B71}" type="pres">
      <dgm:prSet presAssocID="{62A60D8E-D483-454B-BCD6-EDE1568BD34E}" presName="parentTextArrow" presStyleLbl="node1" presStyleIdx="1" presStyleCnt="12"/>
      <dgm:spPr/>
      <dgm:t>
        <a:bodyPr/>
        <a:lstStyle/>
        <a:p>
          <a:endParaRPr lang="en-US"/>
        </a:p>
      </dgm:t>
    </dgm:pt>
    <dgm:pt modelId="{4EBB1FC3-A203-4DC8-931A-2437EC482C63}" type="pres">
      <dgm:prSet presAssocID="{8C5FA31F-76DA-4345-AD00-A2CF9F77C47B}" presName="sp" presStyleCnt="0"/>
      <dgm:spPr/>
    </dgm:pt>
    <dgm:pt modelId="{2B41E718-A216-451A-AC64-E004932336D8}" type="pres">
      <dgm:prSet presAssocID="{FC8AC8B8-273D-4349-B4D7-3FC8D89205EE}" presName="arrowAndChildren" presStyleCnt="0"/>
      <dgm:spPr/>
    </dgm:pt>
    <dgm:pt modelId="{13B05A84-7921-4D95-B431-F893A18E6DF8}" type="pres">
      <dgm:prSet presAssocID="{FC8AC8B8-273D-4349-B4D7-3FC8D89205EE}" presName="parentTextArrow" presStyleLbl="node1" presStyleIdx="2" presStyleCnt="12"/>
      <dgm:spPr/>
      <dgm:t>
        <a:bodyPr/>
        <a:lstStyle/>
        <a:p>
          <a:endParaRPr lang="en-US"/>
        </a:p>
      </dgm:t>
    </dgm:pt>
    <dgm:pt modelId="{F08BA4AE-8CE1-4FF9-A0C6-78414E36930A}" type="pres">
      <dgm:prSet presAssocID="{483B976F-E8B8-4DA4-BD71-93C727575931}" presName="sp" presStyleCnt="0"/>
      <dgm:spPr/>
    </dgm:pt>
    <dgm:pt modelId="{1B6028D0-B5BF-4AB8-9D97-CFFB5B499F5A}" type="pres">
      <dgm:prSet presAssocID="{9523079B-F061-47DC-8757-3ADD83718458}" presName="arrowAndChildren" presStyleCnt="0"/>
      <dgm:spPr/>
    </dgm:pt>
    <dgm:pt modelId="{A87015F6-89F2-4506-B925-94123A40627B}" type="pres">
      <dgm:prSet presAssocID="{9523079B-F061-47DC-8757-3ADD83718458}" presName="parentTextArrow" presStyleLbl="node1" presStyleIdx="3" presStyleCnt="12"/>
      <dgm:spPr/>
      <dgm:t>
        <a:bodyPr/>
        <a:lstStyle/>
        <a:p>
          <a:endParaRPr lang="en-US"/>
        </a:p>
      </dgm:t>
    </dgm:pt>
    <dgm:pt modelId="{71A52CAF-D9CF-4DC6-86CA-40A20A5BE8AF}" type="pres">
      <dgm:prSet presAssocID="{C54B9384-3B2B-4F19-A4F8-2BB794CE07D0}" presName="sp" presStyleCnt="0"/>
      <dgm:spPr/>
    </dgm:pt>
    <dgm:pt modelId="{C5A9D56D-0B91-4DEF-A414-1C82D5D8F9B4}" type="pres">
      <dgm:prSet presAssocID="{87F411BF-62C3-4B09-AC64-F92E3EE711BA}" presName="arrowAndChildren" presStyleCnt="0"/>
      <dgm:spPr/>
    </dgm:pt>
    <dgm:pt modelId="{9D410E65-7164-4DCB-A91F-0AB664C0347E}" type="pres">
      <dgm:prSet presAssocID="{87F411BF-62C3-4B09-AC64-F92E3EE711BA}" presName="parentTextArrow" presStyleLbl="node1" presStyleIdx="4" presStyleCnt="12"/>
      <dgm:spPr/>
      <dgm:t>
        <a:bodyPr/>
        <a:lstStyle/>
        <a:p>
          <a:endParaRPr lang="en-US"/>
        </a:p>
      </dgm:t>
    </dgm:pt>
    <dgm:pt modelId="{C6458603-FE87-48E5-AC28-A02753B67BCD}" type="pres">
      <dgm:prSet presAssocID="{155E87E2-3427-4911-8E79-DB5F6D5CF58D}" presName="sp" presStyleCnt="0"/>
      <dgm:spPr/>
    </dgm:pt>
    <dgm:pt modelId="{941834F7-25CD-492E-903A-DE124F466111}" type="pres">
      <dgm:prSet presAssocID="{FBB59743-E91B-4342-B1C3-10AC54235CD1}" presName="arrowAndChildren" presStyleCnt="0"/>
      <dgm:spPr/>
    </dgm:pt>
    <dgm:pt modelId="{706C396F-6F8C-4B89-A300-879544C1ACED}" type="pres">
      <dgm:prSet presAssocID="{FBB59743-E91B-4342-B1C3-10AC54235CD1}" presName="parentTextArrow" presStyleLbl="node1" presStyleIdx="5" presStyleCnt="12"/>
      <dgm:spPr/>
      <dgm:t>
        <a:bodyPr/>
        <a:lstStyle/>
        <a:p>
          <a:endParaRPr lang="en-US"/>
        </a:p>
      </dgm:t>
    </dgm:pt>
    <dgm:pt modelId="{4C695E59-1BE7-4508-92C2-48F8E1A0CD37}" type="pres">
      <dgm:prSet presAssocID="{0AED1072-47A5-4F86-A93B-1AEDC13B7D82}" presName="sp" presStyleCnt="0"/>
      <dgm:spPr/>
    </dgm:pt>
    <dgm:pt modelId="{85EF7F94-A027-4B71-BE23-63936874A3B9}" type="pres">
      <dgm:prSet presAssocID="{2027620D-6AD7-475A-B9C6-039A1FBCFD0B}" presName="arrowAndChildren" presStyleCnt="0"/>
      <dgm:spPr/>
    </dgm:pt>
    <dgm:pt modelId="{889A4FDA-0273-48F8-A3A0-BC0090117FF2}" type="pres">
      <dgm:prSet presAssocID="{2027620D-6AD7-475A-B9C6-039A1FBCFD0B}" presName="parentTextArrow" presStyleLbl="node1" presStyleIdx="6" presStyleCnt="12" custLinFactX="1199" custLinFactNeighborX="100000" custLinFactNeighborY="5064"/>
      <dgm:spPr/>
      <dgm:t>
        <a:bodyPr/>
        <a:lstStyle/>
        <a:p>
          <a:endParaRPr lang="en-US"/>
        </a:p>
      </dgm:t>
    </dgm:pt>
    <dgm:pt modelId="{2F3053A4-5FE6-4A1A-8965-0F1CB6762AF4}" type="pres">
      <dgm:prSet presAssocID="{DF2E4033-2FD0-4134-B5EF-7A544F502A6E}" presName="sp" presStyleCnt="0"/>
      <dgm:spPr/>
    </dgm:pt>
    <dgm:pt modelId="{8769B9A2-0F28-465C-9E76-C19B9CA97D02}" type="pres">
      <dgm:prSet presAssocID="{58987A67-63F3-41AF-A744-CC43A87DB837}" presName="arrowAndChildren" presStyleCnt="0"/>
      <dgm:spPr/>
    </dgm:pt>
    <dgm:pt modelId="{B22EC47A-2F9F-4BB3-A0A8-BD4E5D233A4D}" type="pres">
      <dgm:prSet presAssocID="{58987A67-63F3-41AF-A744-CC43A87DB837}" presName="parentTextArrow" presStyleLbl="node1" presStyleIdx="7" presStyleCnt="12"/>
      <dgm:spPr/>
      <dgm:t>
        <a:bodyPr/>
        <a:lstStyle/>
        <a:p>
          <a:endParaRPr lang="en-US"/>
        </a:p>
      </dgm:t>
    </dgm:pt>
    <dgm:pt modelId="{620C67C2-ABBA-41FE-9866-1C4E35F6FE34}" type="pres">
      <dgm:prSet presAssocID="{A961A76D-C862-4A99-9C1C-94099B7E0CA2}" presName="sp" presStyleCnt="0"/>
      <dgm:spPr/>
      <dgm:t>
        <a:bodyPr/>
        <a:lstStyle/>
        <a:p>
          <a:endParaRPr lang="pt-BR"/>
        </a:p>
      </dgm:t>
    </dgm:pt>
    <dgm:pt modelId="{010F7919-7B2C-4BD6-9E38-8DC6ED4F7896}" type="pres">
      <dgm:prSet presAssocID="{15865A3D-2C27-4737-AE97-41A10283D973}" presName="arrowAndChildren" presStyleCnt="0"/>
      <dgm:spPr/>
      <dgm:t>
        <a:bodyPr/>
        <a:lstStyle/>
        <a:p>
          <a:endParaRPr lang="pt-BR"/>
        </a:p>
      </dgm:t>
    </dgm:pt>
    <dgm:pt modelId="{D0C94232-D1CD-45B3-8073-CE11EF96717A}" type="pres">
      <dgm:prSet presAssocID="{15865A3D-2C27-4737-AE97-41A10283D973}" presName="parentTextArrow" presStyleLbl="node1" presStyleIdx="8" presStyleCnt="12"/>
      <dgm:spPr/>
      <dgm:t>
        <a:bodyPr/>
        <a:lstStyle/>
        <a:p>
          <a:endParaRPr lang="pt-BR"/>
        </a:p>
      </dgm:t>
    </dgm:pt>
    <dgm:pt modelId="{AAE61B2E-F637-4394-BDAF-5F1F0C624C0B}" type="pres">
      <dgm:prSet presAssocID="{27054481-6D66-4329-A6E6-F89838A0D3F7}" presName="sp" presStyleCnt="0"/>
      <dgm:spPr/>
    </dgm:pt>
    <dgm:pt modelId="{741CE501-D669-4E25-B5AB-B5AC5BC48C35}" type="pres">
      <dgm:prSet presAssocID="{36281D6B-8F62-4398-BC6F-23EE137CEF0A}" presName="arrowAndChildren" presStyleCnt="0"/>
      <dgm:spPr/>
    </dgm:pt>
    <dgm:pt modelId="{47375579-3700-461C-B129-C5FD0F99724F}" type="pres">
      <dgm:prSet presAssocID="{36281D6B-8F62-4398-BC6F-23EE137CEF0A}" presName="parentTextArrow" presStyleLbl="node1" presStyleIdx="9" presStyleCnt="12"/>
      <dgm:spPr/>
      <dgm:t>
        <a:bodyPr/>
        <a:lstStyle/>
        <a:p>
          <a:endParaRPr lang="en-US"/>
        </a:p>
      </dgm:t>
    </dgm:pt>
    <dgm:pt modelId="{172B79CD-3A33-4558-88AD-BD5F561C86E7}" type="pres">
      <dgm:prSet presAssocID="{B8992A25-9B38-4F45-AB0D-E39FD16279B9}" presName="sp" presStyleCnt="0"/>
      <dgm:spPr/>
      <dgm:t>
        <a:bodyPr/>
        <a:lstStyle/>
        <a:p>
          <a:endParaRPr lang="pt-BR"/>
        </a:p>
      </dgm:t>
    </dgm:pt>
    <dgm:pt modelId="{8DFC031F-E450-40F2-A4D7-33E4E7CB2ABD}" type="pres">
      <dgm:prSet presAssocID="{EEF79913-2CF2-4A0B-9FD8-5F54C4F10AD2}" presName="arrowAndChildren" presStyleCnt="0"/>
      <dgm:spPr/>
      <dgm:t>
        <a:bodyPr/>
        <a:lstStyle/>
        <a:p>
          <a:endParaRPr lang="pt-BR"/>
        </a:p>
      </dgm:t>
    </dgm:pt>
    <dgm:pt modelId="{59E35671-2B8F-4DA7-969A-5DF9E0D6F5A2}" type="pres">
      <dgm:prSet presAssocID="{EEF79913-2CF2-4A0B-9FD8-5F54C4F10AD2}" presName="parentTextArrow" presStyleLbl="node1" presStyleIdx="10" presStyleCnt="12"/>
      <dgm:spPr/>
      <dgm:t>
        <a:bodyPr/>
        <a:lstStyle/>
        <a:p>
          <a:endParaRPr lang="pt-BR"/>
        </a:p>
      </dgm:t>
    </dgm:pt>
    <dgm:pt modelId="{85CEEA99-2876-4BF0-B89F-9D2339C4DA8A}" type="pres">
      <dgm:prSet presAssocID="{AF0B2142-6F01-44B9-8CE2-70402BD05605}" presName="sp" presStyleCnt="0"/>
      <dgm:spPr/>
      <dgm:t>
        <a:bodyPr/>
        <a:lstStyle/>
        <a:p>
          <a:endParaRPr lang="pt-BR"/>
        </a:p>
      </dgm:t>
    </dgm:pt>
    <dgm:pt modelId="{138AB0D9-AB59-47AA-B085-330F35086346}" type="pres">
      <dgm:prSet presAssocID="{16C64C04-4E64-4955-8890-2260E3A0728F}" presName="arrowAndChildren" presStyleCnt="0"/>
      <dgm:spPr/>
      <dgm:t>
        <a:bodyPr/>
        <a:lstStyle/>
        <a:p>
          <a:endParaRPr lang="pt-BR"/>
        </a:p>
      </dgm:t>
    </dgm:pt>
    <dgm:pt modelId="{3F16BD0D-6180-474D-9501-7D5C8CC49E1B}" type="pres">
      <dgm:prSet presAssocID="{16C64C04-4E64-4955-8890-2260E3A0728F}" presName="parentTextArrow" presStyleLbl="node1" presStyleIdx="11" presStyleCnt="12"/>
      <dgm:spPr/>
      <dgm:t>
        <a:bodyPr/>
        <a:lstStyle/>
        <a:p>
          <a:endParaRPr lang="pt-BR"/>
        </a:p>
      </dgm:t>
    </dgm:pt>
  </dgm:ptLst>
  <dgm:cxnLst>
    <dgm:cxn modelId="{B8D2F63B-59CA-4302-9F9E-29F0FB4B88BA}" type="presOf" srcId="{2027620D-6AD7-475A-B9C6-039A1FBCFD0B}" destId="{889A4FDA-0273-48F8-A3A0-BC0090117FF2}" srcOrd="0" destOrd="0" presId="urn:microsoft.com/office/officeart/2005/8/layout/process4"/>
    <dgm:cxn modelId="{CA83B112-2C45-4522-A0C6-7E504A84376C}" srcId="{F9790066-A1BB-4D2B-ABCD-D585B1F6B9E8}" destId="{16C64C04-4E64-4955-8890-2260E3A0728F}" srcOrd="0" destOrd="0" parTransId="{05D03D55-87CE-4C59-86BA-16944843B6CD}" sibTransId="{AF0B2142-6F01-44B9-8CE2-70402BD05605}"/>
    <dgm:cxn modelId="{A35DF0BC-ED5C-40AE-8D02-D622E1A2492A}" type="presOf" srcId="{FBB59743-E91B-4342-B1C3-10AC54235CD1}" destId="{706C396F-6F8C-4B89-A300-879544C1ACED}" srcOrd="0" destOrd="0" presId="urn:microsoft.com/office/officeart/2005/8/layout/process4"/>
    <dgm:cxn modelId="{41ED8ED6-59E6-4218-A103-277C4E824AE1}" srcId="{F9790066-A1BB-4D2B-ABCD-D585B1F6B9E8}" destId="{9523079B-F061-47DC-8757-3ADD83718458}" srcOrd="8" destOrd="0" parTransId="{D4F8F556-2AA3-4C9B-A424-0C5830ED00A3}" sibTransId="{483B976F-E8B8-4DA4-BD71-93C727575931}"/>
    <dgm:cxn modelId="{3E78D63D-9250-4E10-AF16-E2DD0E7524CA}" srcId="{F9790066-A1BB-4D2B-ABCD-D585B1F6B9E8}" destId="{36281D6B-8F62-4398-BC6F-23EE137CEF0A}" srcOrd="2" destOrd="0" parTransId="{5F011478-C783-4848-A77B-64F06E7FA252}" sibTransId="{27054481-6D66-4329-A6E6-F89838A0D3F7}"/>
    <dgm:cxn modelId="{5CDFC872-09D1-423A-A900-F7DCA3627164}" srcId="{F9790066-A1BB-4D2B-ABCD-D585B1F6B9E8}" destId="{15865A3D-2C27-4737-AE97-41A10283D973}" srcOrd="3" destOrd="0" parTransId="{C5B1BC41-A6E4-4A49-83AC-A8B8B33CC5A5}" sibTransId="{A961A76D-C862-4A99-9C1C-94099B7E0CA2}"/>
    <dgm:cxn modelId="{8FEBB6EE-085E-40AB-9998-1A9C0F442A1F}" type="presOf" srcId="{87F411BF-62C3-4B09-AC64-F92E3EE711BA}" destId="{9D410E65-7164-4DCB-A91F-0AB664C0347E}" srcOrd="0" destOrd="0" presId="urn:microsoft.com/office/officeart/2005/8/layout/process4"/>
    <dgm:cxn modelId="{193C5615-E189-4CB1-AD52-025806812121}" type="presOf" srcId="{16C64C04-4E64-4955-8890-2260E3A0728F}" destId="{3F16BD0D-6180-474D-9501-7D5C8CC49E1B}" srcOrd="0" destOrd="0" presId="urn:microsoft.com/office/officeart/2005/8/layout/process4"/>
    <dgm:cxn modelId="{AD452199-589B-4370-B26D-849B0DD94257}" type="presOf" srcId="{36281D6B-8F62-4398-BC6F-23EE137CEF0A}" destId="{47375579-3700-461C-B129-C5FD0F99724F}" srcOrd="0" destOrd="0" presId="urn:microsoft.com/office/officeart/2005/8/layout/process4"/>
    <dgm:cxn modelId="{C50AB3BA-9A8A-4272-BC5B-857ED4C741EA}" type="presOf" srcId="{52604BB6-1924-4ECE-AC5F-690BC7091765}" destId="{D7B42521-8A85-49A2-B517-1C848BC5E78F}" srcOrd="0" destOrd="0" presId="urn:microsoft.com/office/officeart/2005/8/layout/process4"/>
    <dgm:cxn modelId="{23E925B7-7FD0-4681-897D-92406D229F52}" srcId="{F9790066-A1BB-4D2B-ABCD-D585B1F6B9E8}" destId="{58987A67-63F3-41AF-A744-CC43A87DB837}" srcOrd="4" destOrd="0" parTransId="{04E8D63E-B41C-4F41-B7FF-725F1EE433AD}" sibTransId="{DF2E4033-2FD0-4134-B5EF-7A544F502A6E}"/>
    <dgm:cxn modelId="{1FC4C529-EBB5-4B96-964B-C97E7277F523}" type="presOf" srcId="{58987A67-63F3-41AF-A744-CC43A87DB837}" destId="{B22EC47A-2F9F-4BB3-A0A8-BD4E5D233A4D}" srcOrd="0" destOrd="0" presId="urn:microsoft.com/office/officeart/2005/8/layout/process4"/>
    <dgm:cxn modelId="{23535428-E2F3-48B0-94B4-F26F36D9E665}" type="presOf" srcId="{62A60D8E-D483-454B-BCD6-EDE1568BD34E}" destId="{B8C54FFF-AFE0-4725-8E80-A07DACBC8B71}" srcOrd="0" destOrd="0" presId="urn:microsoft.com/office/officeart/2005/8/layout/process4"/>
    <dgm:cxn modelId="{108AD076-4535-402C-9C1F-98201F439692}" srcId="{F9790066-A1BB-4D2B-ABCD-D585B1F6B9E8}" destId="{EEF79913-2CF2-4A0B-9FD8-5F54C4F10AD2}" srcOrd="1" destOrd="0" parTransId="{BDF10A83-2061-4187-B315-FFC41323F5BE}" sibTransId="{B8992A25-9B38-4F45-AB0D-E39FD16279B9}"/>
    <dgm:cxn modelId="{3B9D2DF6-907B-4DF2-B03D-C72E195595FB}" type="presOf" srcId="{9523079B-F061-47DC-8757-3ADD83718458}" destId="{A87015F6-89F2-4506-B925-94123A40627B}" srcOrd="0" destOrd="0" presId="urn:microsoft.com/office/officeart/2005/8/layout/process4"/>
    <dgm:cxn modelId="{C4799CCB-62F3-48CC-B55D-A63704C91B7E}" srcId="{F9790066-A1BB-4D2B-ABCD-D585B1F6B9E8}" destId="{2027620D-6AD7-475A-B9C6-039A1FBCFD0B}" srcOrd="5" destOrd="0" parTransId="{C54495E8-F49C-48F9-8992-B8CAFCF6EA3B}" sibTransId="{0AED1072-47A5-4F86-A93B-1AEDC13B7D82}"/>
    <dgm:cxn modelId="{84B8E3FD-4826-4EED-9AF5-46B958BB9D70}" type="presOf" srcId="{EEF79913-2CF2-4A0B-9FD8-5F54C4F10AD2}" destId="{59E35671-2B8F-4DA7-969A-5DF9E0D6F5A2}" srcOrd="0" destOrd="0" presId="urn:microsoft.com/office/officeart/2005/8/layout/process4"/>
    <dgm:cxn modelId="{7761C977-C999-4376-AA8D-7F732B6E95B8}" srcId="{F9790066-A1BB-4D2B-ABCD-D585B1F6B9E8}" destId="{FBB59743-E91B-4342-B1C3-10AC54235CD1}" srcOrd="6" destOrd="0" parTransId="{F3D718EF-4A74-48B8-9B4B-AA7059A42563}" sibTransId="{155E87E2-3427-4911-8E79-DB5F6D5CF58D}"/>
    <dgm:cxn modelId="{E27E0CFA-866A-4590-8593-8156FEA57CBB}" srcId="{F9790066-A1BB-4D2B-ABCD-D585B1F6B9E8}" destId="{FC8AC8B8-273D-4349-B4D7-3FC8D89205EE}" srcOrd="9" destOrd="0" parTransId="{24CCD962-78AC-4FE4-8CFC-27974FD3A9F8}" sibTransId="{8C5FA31F-76DA-4345-AD00-A2CF9F77C47B}"/>
    <dgm:cxn modelId="{FD0C4AC4-7A2A-474E-9442-DEC683AC95CE}" srcId="{F9790066-A1BB-4D2B-ABCD-D585B1F6B9E8}" destId="{62A60D8E-D483-454B-BCD6-EDE1568BD34E}" srcOrd="10" destOrd="0" parTransId="{39ACB954-3362-4D52-B49E-DAA14A34D59C}" sibTransId="{3C6E4B8B-10A0-4586-905B-8A2E9667EF47}"/>
    <dgm:cxn modelId="{118B2383-A8FA-48BC-9573-CA536650DCF6}" type="presOf" srcId="{FC8AC8B8-273D-4349-B4D7-3FC8D89205EE}" destId="{13B05A84-7921-4D95-B431-F893A18E6DF8}" srcOrd="0" destOrd="0" presId="urn:microsoft.com/office/officeart/2005/8/layout/process4"/>
    <dgm:cxn modelId="{AFCD7B31-3550-4E10-85FA-453D3A049F5E}" srcId="{F9790066-A1BB-4D2B-ABCD-D585B1F6B9E8}" destId="{52604BB6-1924-4ECE-AC5F-690BC7091765}" srcOrd="11" destOrd="0" parTransId="{CB018C5D-169B-4041-8556-A19DBB6D27C7}" sibTransId="{8FE93F15-3595-4ADB-90FA-F58E5CA07052}"/>
    <dgm:cxn modelId="{D7F6886B-FD8C-4FB9-9721-DCE9D18DAE28}" type="presOf" srcId="{15865A3D-2C27-4737-AE97-41A10283D973}" destId="{D0C94232-D1CD-45B3-8073-CE11EF96717A}" srcOrd="0" destOrd="0" presId="urn:microsoft.com/office/officeart/2005/8/layout/process4"/>
    <dgm:cxn modelId="{E8F8EB29-E84D-4776-AFD2-9E92DFC19BEB}" type="presOf" srcId="{F9790066-A1BB-4D2B-ABCD-D585B1F6B9E8}" destId="{EBCD0B6D-E40D-44EB-8918-ADE8B338FEEE}" srcOrd="0" destOrd="0" presId="urn:microsoft.com/office/officeart/2005/8/layout/process4"/>
    <dgm:cxn modelId="{BFB34190-D9CB-4B74-ABE6-5DE9DAFEA8CC}" srcId="{F9790066-A1BB-4D2B-ABCD-D585B1F6B9E8}" destId="{87F411BF-62C3-4B09-AC64-F92E3EE711BA}" srcOrd="7" destOrd="0" parTransId="{ABBFFA79-602F-4270-9CB3-E7F659FC1620}" sibTransId="{C54B9384-3B2B-4F19-A4F8-2BB794CE07D0}"/>
    <dgm:cxn modelId="{41EA8668-AC97-456A-9BFF-BD90F2FDCF50}" type="presParOf" srcId="{EBCD0B6D-E40D-44EB-8918-ADE8B338FEEE}" destId="{95E13FE9-8E9B-4359-90E4-C8B9B9EB968E}" srcOrd="0" destOrd="0" presId="urn:microsoft.com/office/officeart/2005/8/layout/process4"/>
    <dgm:cxn modelId="{C619E243-4E56-4438-8C15-CF4E8C60C176}" type="presParOf" srcId="{95E13FE9-8E9B-4359-90E4-C8B9B9EB968E}" destId="{D7B42521-8A85-49A2-B517-1C848BC5E78F}" srcOrd="0" destOrd="0" presId="urn:microsoft.com/office/officeart/2005/8/layout/process4"/>
    <dgm:cxn modelId="{F00F49A2-7189-4C05-9EB8-9ACD717385A7}" type="presParOf" srcId="{EBCD0B6D-E40D-44EB-8918-ADE8B338FEEE}" destId="{0D3C7167-FC8E-48DC-9117-A1B81F7ECE64}" srcOrd="1" destOrd="0" presId="urn:microsoft.com/office/officeart/2005/8/layout/process4"/>
    <dgm:cxn modelId="{32890A2E-D123-404C-BF34-40623AAE71A8}" type="presParOf" srcId="{EBCD0B6D-E40D-44EB-8918-ADE8B338FEEE}" destId="{2C63B962-E6C8-44FA-9140-DD65F5B2073B}" srcOrd="2" destOrd="0" presId="urn:microsoft.com/office/officeart/2005/8/layout/process4"/>
    <dgm:cxn modelId="{0ECE12F7-DD51-483D-9191-E8DE835C2C9E}" type="presParOf" srcId="{2C63B962-E6C8-44FA-9140-DD65F5B2073B}" destId="{B8C54FFF-AFE0-4725-8E80-A07DACBC8B71}" srcOrd="0" destOrd="0" presId="urn:microsoft.com/office/officeart/2005/8/layout/process4"/>
    <dgm:cxn modelId="{859C01FF-A898-417E-A856-B509DE6BDF87}" type="presParOf" srcId="{EBCD0B6D-E40D-44EB-8918-ADE8B338FEEE}" destId="{4EBB1FC3-A203-4DC8-931A-2437EC482C63}" srcOrd="3" destOrd="0" presId="urn:microsoft.com/office/officeart/2005/8/layout/process4"/>
    <dgm:cxn modelId="{29590FE0-967F-4AA0-8F69-28DD56E7A001}" type="presParOf" srcId="{EBCD0B6D-E40D-44EB-8918-ADE8B338FEEE}" destId="{2B41E718-A216-451A-AC64-E004932336D8}" srcOrd="4" destOrd="0" presId="urn:microsoft.com/office/officeart/2005/8/layout/process4"/>
    <dgm:cxn modelId="{E2AC3E40-ED6E-4194-B2BC-242A81FE4586}" type="presParOf" srcId="{2B41E718-A216-451A-AC64-E004932336D8}" destId="{13B05A84-7921-4D95-B431-F893A18E6DF8}" srcOrd="0" destOrd="0" presId="urn:microsoft.com/office/officeart/2005/8/layout/process4"/>
    <dgm:cxn modelId="{CAA9BE2E-25AE-4EC2-8182-F1C354BC2083}" type="presParOf" srcId="{EBCD0B6D-E40D-44EB-8918-ADE8B338FEEE}" destId="{F08BA4AE-8CE1-4FF9-A0C6-78414E36930A}" srcOrd="5" destOrd="0" presId="urn:microsoft.com/office/officeart/2005/8/layout/process4"/>
    <dgm:cxn modelId="{891431F3-DBB7-4072-A9AB-89F7B4DD83DE}" type="presParOf" srcId="{EBCD0B6D-E40D-44EB-8918-ADE8B338FEEE}" destId="{1B6028D0-B5BF-4AB8-9D97-CFFB5B499F5A}" srcOrd="6" destOrd="0" presId="urn:microsoft.com/office/officeart/2005/8/layout/process4"/>
    <dgm:cxn modelId="{D51ACA63-02A6-43BB-B170-FF6F98B3794C}" type="presParOf" srcId="{1B6028D0-B5BF-4AB8-9D97-CFFB5B499F5A}" destId="{A87015F6-89F2-4506-B925-94123A40627B}" srcOrd="0" destOrd="0" presId="urn:microsoft.com/office/officeart/2005/8/layout/process4"/>
    <dgm:cxn modelId="{D4E028BF-5B3D-4ED8-BB86-772F4A5EA2D8}" type="presParOf" srcId="{EBCD0B6D-E40D-44EB-8918-ADE8B338FEEE}" destId="{71A52CAF-D9CF-4DC6-86CA-40A20A5BE8AF}" srcOrd="7" destOrd="0" presId="urn:microsoft.com/office/officeart/2005/8/layout/process4"/>
    <dgm:cxn modelId="{BD9A25BB-F9FC-4B8C-9B87-CF661F73E3F4}" type="presParOf" srcId="{EBCD0B6D-E40D-44EB-8918-ADE8B338FEEE}" destId="{C5A9D56D-0B91-4DEF-A414-1C82D5D8F9B4}" srcOrd="8" destOrd="0" presId="urn:microsoft.com/office/officeart/2005/8/layout/process4"/>
    <dgm:cxn modelId="{9264E198-B2D0-40E9-9593-92FB0C275C29}" type="presParOf" srcId="{C5A9D56D-0B91-4DEF-A414-1C82D5D8F9B4}" destId="{9D410E65-7164-4DCB-A91F-0AB664C0347E}" srcOrd="0" destOrd="0" presId="urn:microsoft.com/office/officeart/2005/8/layout/process4"/>
    <dgm:cxn modelId="{3FDFE373-B6A2-4079-9822-870A131764A3}" type="presParOf" srcId="{EBCD0B6D-E40D-44EB-8918-ADE8B338FEEE}" destId="{C6458603-FE87-48E5-AC28-A02753B67BCD}" srcOrd="9" destOrd="0" presId="urn:microsoft.com/office/officeart/2005/8/layout/process4"/>
    <dgm:cxn modelId="{E3A61893-7229-4218-A97A-836FBC2B0B7F}" type="presParOf" srcId="{EBCD0B6D-E40D-44EB-8918-ADE8B338FEEE}" destId="{941834F7-25CD-492E-903A-DE124F466111}" srcOrd="10" destOrd="0" presId="urn:microsoft.com/office/officeart/2005/8/layout/process4"/>
    <dgm:cxn modelId="{55CB1711-F383-4F07-BAA3-171CCBFE95AC}" type="presParOf" srcId="{941834F7-25CD-492E-903A-DE124F466111}" destId="{706C396F-6F8C-4B89-A300-879544C1ACED}" srcOrd="0" destOrd="0" presId="urn:microsoft.com/office/officeart/2005/8/layout/process4"/>
    <dgm:cxn modelId="{1271F55C-5255-4226-9FA5-14D8FC9F3C8F}" type="presParOf" srcId="{EBCD0B6D-E40D-44EB-8918-ADE8B338FEEE}" destId="{4C695E59-1BE7-4508-92C2-48F8E1A0CD37}" srcOrd="11" destOrd="0" presId="urn:microsoft.com/office/officeart/2005/8/layout/process4"/>
    <dgm:cxn modelId="{72417D2C-E41E-4897-8B93-1B1B0C0D20C6}" type="presParOf" srcId="{EBCD0B6D-E40D-44EB-8918-ADE8B338FEEE}" destId="{85EF7F94-A027-4B71-BE23-63936874A3B9}" srcOrd="12" destOrd="0" presId="urn:microsoft.com/office/officeart/2005/8/layout/process4"/>
    <dgm:cxn modelId="{3E037083-98C0-4D75-9C18-A1F717C598DE}" type="presParOf" srcId="{85EF7F94-A027-4B71-BE23-63936874A3B9}" destId="{889A4FDA-0273-48F8-A3A0-BC0090117FF2}" srcOrd="0" destOrd="0" presId="urn:microsoft.com/office/officeart/2005/8/layout/process4"/>
    <dgm:cxn modelId="{F8CCA38C-331A-4965-8B2D-A6DF12178A2E}" type="presParOf" srcId="{EBCD0B6D-E40D-44EB-8918-ADE8B338FEEE}" destId="{2F3053A4-5FE6-4A1A-8965-0F1CB6762AF4}" srcOrd="13" destOrd="0" presId="urn:microsoft.com/office/officeart/2005/8/layout/process4"/>
    <dgm:cxn modelId="{1B4760B7-6779-4D07-9A6B-E4733B3FD3ED}" type="presParOf" srcId="{EBCD0B6D-E40D-44EB-8918-ADE8B338FEEE}" destId="{8769B9A2-0F28-465C-9E76-C19B9CA97D02}" srcOrd="14" destOrd="0" presId="urn:microsoft.com/office/officeart/2005/8/layout/process4"/>
    <dgm:cxn modelId="{C1E37A39-E297-4274-97EF-4BF7156213F4}" type="presParOf" srcId="{8769B9A2-0F28-465C-9E76-C19B9CA97D02}" destId="{B22EC47A-2F9F-4BB3-A0A8-BD4E5D233A4D}" srcOrd="0" destOrd="0" presId="urn:microsoft.com/office/officeart/2005/8/layout/process4"/>
    <dgm:cxn modelId="{1464096F-F5E9-45BC-A9EC-20B72F146C56}" type="presParOf" srcId="{EBCD0B6D-E40D-44EB-8918-ADE8B338FEEE}" destId="{620C67C2-ABBA-41FE-9866-1C4E35F6FE34}" srcOrd="15" destOrd="0" presId="urn:microsoft.com/office/officeart/2005/8/layout/process4"/>
    <dgm:cxn modelId="{701D8BDD-1E18-417A-B89E-0F47D7E94B35}" type="presParOf" srcId="{EBCD0B6D-E40D-44EB-8918-ADE8B338FEEE}" destId="{010F7919-7B2C-4BD6-9E38-8DC6ED4F7896}" srcOrd="16" destOrd="0" presId="urn:microsoft.com/office/officeart/2005/8/layout/process4"/>
    <dgm:cxn modelId="{59194A09-FEE8-4DF4-B0AB-703CE46082EE}" type="presParOf" srcId="{010F7919-7B2C-4BD6-9E38-8DC6ED4F7896}" destId="{D0C94232-D1CD-45B3-8073-CE11EF96717A}" srcOrd="0" destOrd="0" presId="urn:microsoft.com/office/officeart/2005/8/layout/process4"/>
    <dgm:cxn modelId="{B759EE34-6F5A-4535-92E2-F02FD3B2029A}" type="presParOf" srcId="{EBCD0B6D-E40D-44EB-8918-ADE8B338FEEE}" destId="{AAE61B2E-F637-4394-BDAF-5F1F0C624C0B}" srcOrd="17" destOrd="0" presId="urn:microsoft.com/office/officeart/2005/8/layout/process4"/>
    <dgm:cxn modelId="{CF50491B-033E-438F-93F9-2EF053E10B37}" type="presParOf" srcId="{EBCD0B6D-E40D-44EB-8918-ADE8B338FEEE}" destId="{741CE501-D669-4E25-B5AB-B5AC5BC48C35}" srcOrd="18" destOrd="0" presId="urn:microsoft.com/office/officeart/2005/8/layout/process4"/>
    <dgm:cxn modelId="{F36C23D4-F129-4A9C-984C-90ED62EDC2FE}" type="presParOf" srcId="{741CE501-D669-4E25-B5AB-B5AC5BC48C35}" destId="{47375579-3700-461C-B129-C5FD0F99724F}" srcOrd="0" destOrd="0" presId="urn:microsoft.com/office/officeart/2005/8/layout/process4"/>
    <dgm:cxn modelId="{D714BE2D-B424-473E-90AB-BBD831017752}" type="presParOf" srcId="{EBCD0B6D-E40D-44EB-8918-ADE8B338FEEE}" destId="{172B79CD-3A33-4558-88AD-BD5F561C86E7}" srcOrd="19" destOrd="0" presId="urn:microsoft.com/office/officeart/2005/8/layout/process4"/>
    <dgm:cxn modelId="{480B3448-F2C2-4738-91B0-ADB09979DECF}" type="presParOf" srcId="{EBCD0B6D-E40D-44EB-8918-ADE8B338FEEE}" destId="{8DFC031F-E450-40F2-A4D7-33E4E7CB2ABD}" srcOrd="20" destOrd="0" presId="urn:microsoft.com/office/officeart/2005/8/layout/process4"/>
    <dgm:cxn modelId="{9E0B1F97-2663-4D86-AF2D-40CB01011C3D}" type="presParOf" srcId="{8DFC031F-E450-40F2-A4D7-33E4E7CB2ABD}" destId="{59E35671-2B8F-4DA7-969A-5DF9E0D6F5A2}" srcOrd="0" destOrd="0" presId="urn:microsoft.com/office/officeart/2005/8/layout/process4"/>
    <dgm:cxn modelId="{9C3883B7-4806-4838-8640-A4F95809CC74}" type="presParOf" srcId="{EBCD0B6D-E40D-44EB-8918-ADE8B338FEEE}" destId="{85CEEA99-2876-4BF0-B89F-9D2339C4DA8A}" srcOrd="21" destOrd="0" presId="urn:microsoft.com/office/officeart/2005/8/layout/process4"/>
    <dgm:cxn modelId="{985B484A-A45A-4A48-9909-B9EC5B110C0D}" type="presParOf" srcId="{EBCD0B6D-E40D-44EB-8918-ADE8B338FEEE}" destId="{138AB0D9-AB59-47AA-B085-330F35086346}" srcOrd="22" destOrd="0" presId="urn:microsoft.com/office/officeart/2005/8/layout/process4"/>
    <dgm:cxn modelId="{2EF8FEBA-A569-4465-8431-4E67A872307B}" type="presParOf" srcId="{138AB0D9-AB59-47AA-B085-330F35086346}" destId="{3F16BD0D-6180-474D-9501-7D5C8CC49E1B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F0B2A-E4E4-4B79-9291-B91AB5224007}">
      <dsp:nvSpPr>
        <dsp:cNvPr id="0" name=""/>
        <dsp:cNvSpPr/>
      </dsp:nvSpPr>
      <dsp:spPr>
        <a:xfrm>
          <a:off x="483177" y="487394"/>
          <a:ext cx="590549" cy="590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601904" y="625727"/>
        <a:ext cx="353095" cy="303555"/>
      </dsp:txXfrm>
    </dsp:sp>
    <dsp:sp modelId="{E2C9D73F-FB76-4109-9C3B-CDD964B9A9DF}">
      <dsp:nvSpPr>
        <dsp:cNvPr id="0" name=""/>
        <dsp:cNvSpPr/>
      </dsp:nvSpPr>
      <dsp:spPr>
        <a:xfrm>
          <a:off x="139584" y="347810"/>
          <a:ext cx="429490" cy="42949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247709" y="456589"/>
        <a:ext cx="213240" cy="211932"/>
      </dsp:txXfrm>
    </dsp:sp>
    <dsp:sp modelId="{2427AE9A-B7B7-44EE-9688-471A19F67348}">
      <dsp:nvSpPr>
        <dsp:cNvPr id="0" name=""/>
        <dsp:cNvSpPr/>
      </dsp:nvSpPr>
      <dsp:spPr>
        <a:xfrm rot="20700000">
          <a:off x="380143" y="51505"/>
          <a:ext cx="420813" cy="42081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 rot="-20700000">
        <a:off x="472439" y="143802"/>
        <a:ext cx="236219" cy="236219"/>
      </dsp:txXfrm>
    </dsp:sp>
    <dsp:sp modelId="{1D106DD1-2D3A-4EAC-B3CC-942B5CA4B912}">
      <dsp:nvSpPr>
        <dsp:cNvPr id="0" name=""/>
        <dsp:cNvSpPr/>
      </dsp:nvSpPr>
      <dsp:spPr>
        <a:xfrm>
          <a:off x="409899" y="412658"/>
          <a:ext cx="755903" cy="755903"/>
        </a:xfrm>
        <a:prstGeom prst="circularArrow">
          <a:avLst>
            <a:gd name="adj1" fmla="val 4687"/>
            <a:gd name="adj2" fmla="val 299029"/>
            <a:gd name="adj3" fmla="val 2309663"/>
            <a:gd name="adj4" fmla="val 1641509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28973-7EA0-4BDA-8345-B35D0D5F9918}">
      <dsp:nvSpPr>
        <dsp:cNvPr id="0" name=""/>
        <dsp:cNvSpPr/>
      </dsp:nvSpPr>
      <dsp:spPr>
        <a:xfrm>
          <a:off x="63522" y="266172"/>
          <a:ext cx="549211" cy="54921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69DFB-10A0-41DC-94CF-D614D68D696C}">
      <dsp:nvSpPr>
        <dsp:cNvPr id="0" name=""/>
        <dsp:cNvSpPr/>
      </dsp:nvSpPr>
      <dsp:spPr>
        <a:xfrm>
          <a:off x="282804" y="-27276"/>
          <a:ext cx="592160" cy="592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33F73-E662-4882-9F7F-758FD3AE30B7}">
      <dsp:nvSpPr>
        <dsp:cNvPr id="0" name=""/>
        <dsp:cNvSpPr/>
      </dsp:nvSpPr>
      <dsp:spPr>
        <a:xfrm>
          <a:off x="487036" y="0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608795" y="243518"/>
        <a:ext cx="243518" cy="243518"/>
      </dsp:txXfrm>
    </dsp:sp>
    <dsp:sp modelId="{0DA0B4D2-89D2-4A8F-917F-F074B8961B3D}">
      <dsp:nvSpPr>
        <dsp:cNvPr id="0" name=""/>
        <dsp:cNvSpPr/>
      </dsp:nvSpPr>
      <dsp:spPr>
        <a:xfrm>
          <a:off x="243518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365277" y="730554"/>
        <a:ext cx="243518" cy="243518"/>
      </dsp:txXfrm>
    </dsp:sp>
    <dsp:sp modelId="{FCC81336-869F-411B-9391-B04824C3D716}">
      <dsp:nvSpPr>
        <dsp:cNvPr id="0" name=""/>
        <dsp:cNvSpPr/>
      </dsp:nvSpPr>
      <dsp:spPr>
        <a:xfrm rot="10800000">
          <a:off x="487036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 rot="10800000">
        <a:off x="608795" y="487036"/>
        <a:ext cx="243518" cy="243518"/>
      </dsp:txXfrm>
    </dsp:sp>
    <dsp:sp modelId="{C955E634-30BF-4B53-8E9F-76C4E7C0546C}">
      <dsp:nvSpPr>
        <dsp:cNvPr id="0" name=""/>
        <dsp:cNvSpPr/>
      </dsp:nvSpPr>
      <dsp:spPr>
        <a:xfrm>
          <a:off x="730554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852313" y="730554"/>
        <a:ext cx="243518" cy="2435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B42521-8A85-49A2-B517-1C848BC5E78F}">
      <dsp:nvSpPr>
        <dsp:cNvPr id="0" name=""/>
        <dsp:cNvSpPr/>
      </dsp:nvSpPr>
      <dsp:spPr>
        <a:xfrm>
          <a:off x="0" y="4473788"/>
          <a:ext cx="3573204" cy="266845"/>
        </a:xfrm>
        <a:prstGeom prst="rect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TBI_CFG_IDS_MASSA</a:t>
          </a:r>
          <a:endParaRPr lang="pt-BR" sz="900" kern="1200" dirty="0"/>
        </a:p>
      </dsp:txBody>
      <dsp:txXfrm>
        <a:off x="0" y="4473788"/>
        <a:ext cx="3573204" cy="266845"/>
      </dsp:txXfrm>
    </dsp:sp>
    <dsp:sp modelId="{B8C54FFF-AFE0-4725-8E80-A07DACBC8B71}">
      <dsp:nvSpPr>
        <dsp:cNvPr id="0" name=""/>
        <dsp:cNvSpPr/>
      </dsp:nvSpPr>
      <dsp:spPr>
        <a:xfrm rot="10800000">
          <a:off x="0" y="4066333"/>
          <a:ext cx="3573204" cy="410408"/>
        </a:xfrm>
        <a:prstGeom prst="upArrowCallout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b="1" kern="1200" dirty="0" smtClean="0"/>
            <a:t>INTERIM_CHARGE_TYPES</a:t>
          </a:r>
          <a:endParaRPr lang="pt-BR" sz="900" kern="1200" dirty="0"/>
        </a:p>
      </dsp:txBody>
      <dsp:txXfrm rot="10800000">
        <a:off x="0" y="4066333"/>
        <a:ext cx="3573204" cy="266671"/>
      </dsp:txXfrm>
    </dsp:sp>
    <dsp:sp modelId="{13B05A84-7921-4D95-B431-F893A18E6DF8}">
      <dsp:nvSpPr>
        <dsp:cNvPr id="0" name=""/>
        <dsp:cNvSpPr/>
      </dsp:nvSpPr>
      <dsp:spPr>
        <a:xfrm rot="10800000">
          <a:off x="0" y="3659928"/>
          <a:ext cx="3573204" cy="410408"/>
        </a:xfrm>
        <a:prstGeom prst="upArrowCallout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REP_TRAD_EOT_ANATEL_COD_OI</a:t>
          </a:r>
          <a:endParaRPr lang="pt-BR" sz="900" kern="1200" dirty="0"/>
        </a:p>
      </dsp:txBody>
      <dsp:txXfrm rot="10800000">
        <a:off x="0" y="3659928"/>
        <a:ext cx="3573204" cy="266671"/>
      </dsp:txXfrm>
    </dsp:sp>
    <dsp:sp modelId="{A87015F6-89F2-4506-B925-94123A40627B}">
      <dsp:nvSpPr>
        <dsp:cNvPr id="0" name=""/>
        <dsp:cNvSpPr/>
      </dsp:nvSpPr>
      <dsp:spPr>
        <a:xfrm rot="10800000">
          <a:off x="0" y="3253522"/>
          <a:ext cx="3573204" cy="410408"/>
        </a:xfrm>
        <a:prstGeom prst="upArrowCallout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TB_OIBIF_CFG_CSP</a:t>
          </a:r>
          <a:endParaRPr lang="pt-BR" sz="900" kern="1200" dirty="0"/>
        </a:p>
      </dsp:txBody>
      <dsp:txXfrm rot="10800000">
        <a:off x="0" y="3253522"/>
        <a:ext cx="3573204" cy="266671"/>
      </dsp:txXfrm>
    </dsp:sp>
    <dsp:sp modelId="{9D410E65-7164-4DCB-A91F-0AB664C0347E}">
      <dsp:nvSpPr>
        <dsp:cNvPr id="0" name=""/>
        <dsp:cNvSpPr/>
      </dsp:nvSpPr>
      <dsp:spPr>
        <a:xfrm rot="10800000">
          <a:off x="0" y="2847116"/>
          <a:ext cx="3573204" cy="410408"/>
        </a:xfrm>
        <a:prstGeom prst="upArrowCallout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CONTROLE_NUM_NOTAS_FISCAIS</a:t>
          </a:r>
          <a:endParaRPr lang="pt-BR" sz="900" kern="1200" dirty="0"/>
        </a:p>
      </dsp:txBody>
      <dsp:txXfrm rot="10800000">
        <a:off x="0" y="2847116"/>
        <a:ext cx="3573204" cy="266671"/>
      </dsp:txXfrm>
    </dsp:sp>
    <dsp:sp modelId="{706C396F-6F8C-4B89-A300-879544C1ACED}">
      <dsp:nvSpPr>
        <dsp:cNvPr id="0" name=""/>
        <dsp:cNvSpPr/>
      </dsp:nvSpPr>
      <dsp:spPr>
        <a:xfrm rot="10800000">
          <a:off x="0" y="2440711"/>
          <a:ext cx="3573204" cy="410408"/>
        </a:xfrm>
        <a:prstGeom prst="upArrowCallout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OIBIF_EMPRESAS</a:t>
          </a:r>
          <a:endParaRPr lang="pt-BR" sz="900" kern="1200" dirty="0"/>
        </a:p>
      </dsp:txBody>
      <dsp:txXfrm rot="10800000">
        <a:off x="0" y="2440711"/>
        <a:ext cx="3573204" cy="266671"/>
      </dsp:txXfrm>
    </dsp:sp>
    <dsp:sp modelId="{889A4FDA-0273-48F8-A3A0-BC0090117FF2}">
      <dsp:nvSpPr>
        <dsp:cNvPr id="0" name=""/>
        <dsp:cNvSpPr/>
      </dsp:nvSpPr>
      <dsp:spPr>
        <a:xfrm rot="10800000">
          <a:off x="0" y="2055088"/>
          <a:ext cx="3573204" cy="410408"/>
        </a:xfrm>
        <a:prstGeom prst="upArrowCallout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TBI_OPEN_ITEM</a:t>
          </a:r>
          <a:endParaRPr lang="pt-BR" sz="900" kern="1200" dirty="0"/>
        </a:p>
      </dsp:txBody>
      <dsp:txXfrm rot="10800000">
        <a:off x="0" y="2055088"/>
        <a:ext cx="3573204" cy="266671"/>
      </dsp:txXfrm>
    </dsp:sp>
    <dsp:sp modelId="{B22EC47A-2F9F-4BB3-A0A8-BD4E5D233A4D}">
      <dsp:nvSpPr>
        <dsp:cNvPr id="0" name=""/>
        <dsp:cNvSpPr/>
      </dsp:nvSpPr>
      <dsp:spPr>
        <a:xfrm rot="10800000">
          <a:off x="0" y="1627899"/>
          <a:ext cx="3573204" cy="410408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ADJ_TRANS_DESCR</a:t>
          </a:r>
          <a:endParaRPr lang="pt-BR" sz="900" kern="1200" dirty="0"/>
        </a:p>
      </dsp:txBody>
      <dsp:txXfrm rot="10800000">
        <a:off x="0" y="1627899"/>
        <a:ext cx="3573204" cy="266671"/>
      </dsp:txXfrm>
    </dsp:sp>
    <dsp:sp modelId="{D0C94232-D1CD-45B3-8073-CE11EF96717A}">
      <dsp:nvSpPr>
        <dsp:cNvPr id="0" name=""/>
        <dsp:cNvSpPr/>
      </dsp:nvSpPr>
      <dsp:spPr>
        <a:xfrm rot="10800000">
          <a:off x="0" y="1221493"/>
          <a:ext cx="3573204" cy="410408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DESCRIPTIONS</a:t>
          </a:r>
          <a:endParaRPr lang="pt-BR" sz="900" kern="1200" dirty="0"/>
        </a:p>
      </dsp:txBody>
      <dsp:txXfrm rot="10800000">
        <a:off x="0" y="1221493"/>
        <a:ext cx="3573204" cy="266671"/>
      </dsp:txXfrm>
    </dsp:sp>
    <dsp:sp modelId="{47375579-3700-461C-B129-C5FD0F99724F}">
      <dsp:nvSpPr>
        <dsp:cNvPr id="0" name=""/>
        <dsp:cNvSpPr/>
      </dsp:nvSpPr>
      <dsp:spPr>
        <a:xfrm rot="10800000">
          <a:off x="0" y="815088"/>
          <a:ext cx="3573204" cy="410408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GLOBAL_ACCOUNT_BALANCES</a:t>
          </a:r>
          <a:endParaRPr lang="pt-BR" sz="900" kern="1200" dirty="0"/>
        </a:p>
      </dsp:txBody>
      <dsp:txXfrm rot="10800000">
        <a:off x="0" y="815088"/>
        <a:ext cx="3573204" cy="266671"/>
      </dsp:txXfrm>
    </dsp:sp>
    <dsp:sp modelId="{59E35671-2B8F-4DA7-969A-5DF9E0D6F5A2}">
      <dsp:nvSpPr>
        <dsp:cNvPr id="0" name=""/>
        <dsp:cNvSpPr/>
      </dsp:nvSpPr>
      <dsp:spPr>
        <a:xfrm rot="10800000">
          <a:off x="0" y="408682"/>
          <a:ext cx="3573204" cy="410408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OPEN_ITEM_ID_VALUES</a:t>
          </a:r>
          <a:endParaRPr lang="pt-BR" sz="900" kern="1200" dirty="0"/>
        </a:p>
      </dsp:txBody>
      <dsp:txXfrm rot="10800000">
        <a:off x="0" y="408682"/>
        <a:ext cx="3573204" cy="266671"/>
      </dsp:txXfrm>
    </dsp:sp>
    <dsp:sp modelId="{3F16BD0D-6180-474D-9501-7D5C8CC49E1B}">
      <dsp:nvSpPr>
        <dsp:cNvPr id="0" name=""/>
        <dsp:cNvSpPr/>
      </dsp:nvSpPr>
      <dsp:spPr>
        <a:xfrm rot="10800000">
          <a:off x="0" y="2276"/>
          <a:ext cx="3573204" cy="410408"/>
        </a:xfrm>
        <a:prstGeom prst="upArrowCallou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OPEN_ITEM_ID_REF</a:t>
          </a:r>
          <a:endParaRPr lang="pt-BR" sz="900" kern="1200" dirty="0"/>
        </a:p>
      </dsp:txBody>
      <dsp:txXfrm rot="10800000">
        <a:off x="0" y="2276"/>
        <a:ext cx="3573204" cy="2666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1/19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1/19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798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20993"/>
              </p:ext>
            </p:extLst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18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314775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5359129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0217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977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362356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57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52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452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07801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0453863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27584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79163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/>
              <a:t>Copyright © 2015 Accenture  All Rights Reserved. Accenture, its logo, and High Performance Delivered. are trademarks of </a:t>
            </a:r>
            <a:r>
              <a:rPr lang="en-US" sz="1000" dirty="0" err="1" smtClean="0"/>
              <a:t>Accenture.</a:t>
            </a:r>
            <a:r>
              <a:rPr lang="en-US" sz="800" b="0" dirty="0" err="1" smtClean="0">
                <a:solidFill>
                  <a:schemeClr val="bg1"/>
                </a:solidFill>
              </a:rPr>
              <a:t>f</a:t>
            </a:r>
            <a:r>
              <a:rPr lang="en-US" sz="800" b="0" dirty="0" smtClean="0">
                <a:solidFill>
                  <a:schemeClr val="bg1"/>
                </a:solidFill>
              </a:rPr>
              <a:t> Accenture.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7315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6970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en-US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Multiprodutos</a:t>
            </a: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en-US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en-US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en-US" sz="20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embro</a:t>
            </a:r>
            <a:r>
              <a:rPr lang="en-US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2015</a:t>
            </a:r>
          </a:p>
          <a:p>
            <a:pPr marL="0" indent="0" defTabSz="914400" eaLnBrk="1" hangingPunct="1">
              <a:buFontTx/>
              <a:buNone/>
            </a:pPr>
            <a:endParaRPr lang="en-US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683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. DE CONFIG. Open Items P</a:t>
            </a:r>
            <a:endParaRPr lang="en-US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614014" y="1408469"/>
            <a:ext cx="7439833" cy="1608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crição básica de Open </a:t>
            </a:r>
            <a:r>
              <a:rPr lang="pt-BR" sz="18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ems</a:t>
            </a: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pt-BR" sz="1200" dirty="0" smtClean="0"/>
          </a:p>
          <a:p>
            <a:r>
              <a:rPr lang="pt-BR" sz="1200" dirty="0" err="1" smtClean="0"/>
              <a:t>IDs</a:t>
            </a:r>
            <a:r>
              <a:rPr lang="pt-BR" sz="1200" dirty="0" smtClean="0"/>
              <a:t> de Open item fornecem um método configurável para alocar pagamentos de acordo com suas regras de negócios</a:t>
            </a:r>
            <a:r>
              <a:rPr lang="pt-BR" sz="1200" dirty="0"/>
              <a:t>. </a:t>
            </a:r>
            <a:r>
              <a:rPr lang="pt-BR" sz="1200" dirty="0" err="1"/>
              <a:t>IDs</a:t>
            </a:r>
            <a:r>
              <a:rPr lang="pt-BR" sz="1200" dirty="0"/>
              <a:t> de Open item </a:t>
            </a:r>
            <a:r>
              <a:rPr lang="pt-BR" sz="1200" dirty="0" smtClean="0"/>
              <a:t> servem para identificar grupos de cobranças e especificar a ordem na qual os pagamentos foram alocados para cada grupo. Atualmente, os </a:t>
            </a:r>
            <a:r>
              <a:rPr lang="pt-BR" sz="1200" dirty="0" err="1" smtClean="0"/>
              <a:t>IDs</a:t>
            </a:r>
            <a:r>
              <a:rPr lang="pt-BR" sz="1200" dirty="0" smtClean="0"/>
              <a:t> de open item são mais flexíveis e podem ser utilizados para redirecionar cobranças e também agrupar cobranças.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614015" y="3967240"/>
            <a:ext cx="7529985" cy="1475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s para demanda do #P</a:t>
            </a:r>
          </a:p>
          <a:p>
            <a:pPr marL="67618">
              <a:lnSpc>
                <a:spcPct val="107000"/>
              </a:lnSpc>
            </a:pPr>
            <a:endParaRPr lang="en-US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ems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ão utilizados para identificar serviços e para onde suas cobranças são encaminhadas. Exemplo: Serviço de TV vai para um grupo específico de cobrança. Nos slides seguintes nós vamos identificar 1 novo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_item_id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tilizado para alocação de pagamento P e como ele é configurado no Arbor.</a:t>
            </a:r>
            <a:endParaRPr lang="pt-BR" sz="12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38908324"/>
              </p:ext>
            </p:extLst>
          </p:nvPr>
        </p:nvGraphicFramePr>
        <p:xfrm>
          <a:off x="206460" y="1562239"/>
          <a:ext cx="1073727" cy="108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82110151"/>
              </p:ext>
            </p:extLst>
          </p:nvPr>
        </p:nvGraphicFramePr>
        <p:xfrm>
          <a:off x="97529" y="4166480"/>
          <a:ext cx="1461108" cy="97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2771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. DE CONFIG. </a:t>
            </a:r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n Items 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9545" y="1226127"/>
            <a:ext cx="7990610" cy="51706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O novo </a:t>
            </a:r>
            <a:r>
              <a:rPr lang="pt-BR" sz="1400" dirty="0" err="1" smtClean="0">
                <a:latin typeface="Arial" pitchFamily="34" charset="0"/>
                <a:cs typeface="Arial" pitchFamily="34" charset="0"/>
              </a:rPr>
              <a:t>Open_item_id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é 96. Este é para Oi TV. Oi TV é na verdade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a própria TNL e a necessidade de se dividir em outro Open Item foi por conta do modelo de ICMS adotado para TV. Observe trecho da TBI_OPEN_ITEM.</a:t>
            </a:r>
          </a:p>
          <a:p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Pacotes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Oi TV como Pacote OI TV Simples HBO Max e Pacote OI TV Mais Telecine Light são mapeados para 96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TBI_OPEN_ITEM é uma tabela customizada, indica se Oi TV tem contestação, e define se a companhia precisa reembolsar em dobro. IND_DEVELUCAO_DOBRO=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GLOBAL_OPEN_ITEM_ID_MAP é a tabela responsável por ligar um tipo de uso, uma assinatura, uma taxa ou até mesmo um provedor a um Open_Item. Caso a mediação ou outra fonte de CDR deixe de encaminhar o Open_Item, esta tabela garante que o item seja guiado corretamen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NRC_TRANS_DESCR para 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tod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Open_Item criado devem ser criadas em conjunto NRCs para parcelamento de dívid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Também devem ser observadas com cuidado as necessidades fiscais e contábeis do Open_Item no que diz respeito a configura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ção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das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notas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fiscais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e da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contabilização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pagamentos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e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ajustes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relativos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ao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nov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Open_Item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.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0481" y="1987694"/>
            <a:ext cx="7501464" cy="72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795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. DE CONFIG. </a:t>
            </a:r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n Items 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9545" y="1226127"/>
            <a:ext cx="7990610" cy="5016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1800" b="1" dirty="0" smtClean="0">
                <a:latin typeface="Arial" pitchFamily="34" charset="0"/>
                <a:cs typeface="Arial" pitchFamily="34" charset="0"/>
              </a:rPr>
              <a:t>REESTRUTURAÇÃO DOS OPEN ITEMS</a:t>
            </a:r>
            <a:endParaRPr lang="pt-BR" sz="1800" dirty="0" smtClean="0">
              <a:latin typeface="Arial" pitchFamily="34" charset="0"/>
              <a:cs typeface="Arial" pitchFamily="34" charset="0"/>
            </a:endParaRP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r>
              <a:rPr lang="pt-BR" sz="1400" dirty="0" smtClean="0">
                <a:latin typeface="Arial" pitchFamily="34" charset="0"/>
                <a:cs typeface="Arial" pitchFamily="34" charset="0"/>
              </a:rPr>
              <a:t>Com a aglutinação de todos serviços de voz na mesma fatura gerou-se a necessidade de se identificar a origem das ligações realizadas. Sendo assim os Open Items de cada operadora de voz foi triplicado de modo que fosse possível indentificar o produto de origem de uma ligação.</a:t>
            </a:r>
          </a:p>
          <a:p>
            <a:r>
              <a:rPr lang="pt-BR" sz="1400" dirty="0" smtClean="0">
                <a:latin typeface="Arial" pitchFamily="34" charset="0"/>
                <a:cs typeface="Arial" pitchFamily="34" charset="0"/>
              </a:rPr>
              <a:t>Ex: Ligação via Embratel originada em um fixo da região 1, ligação via Embratel originada de um fixo da região 2, ligação via Embratel orifinada de um móvel (ambas regiões).</a:t>
            </a:r>
          </a:p>
          <a:p>
            <a:endParaRPr lang="pt-BR" sz="1400" dirty="0">
              <a:latin typeface="Arial" pitchFamily="34" charset="0"/>
              <a:cs typeface="Arial" pitchFamily="34" charset="0"/>
            </a:endParaRP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endParaRPr lang="pt-BR" sz="1400" dirty="0">
              <a:latin typeface="Arial" pitchFamily="34" charset="0"/>
              <a:cs typeface="Arial" pitchFamily="34" charset="0"/>
            </a:endParaRP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endParaRPr lang="pt-BR" sz="1400" dirty="0">
              <a:latin typeface="Arial" pitchFamily="34" charset="0"/>
              <a:cs typeface="Arial" pitchFamily="34" charset="0"/>
            </a:endParaRP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endParaRPr lang="pt-BR" sz="1400" dirty="0">
              <a:latin typeface="Arial" pitchFamily="34" charset="0"/>
              <a:cs typeface="Arial" pitchFamily="34" charset="0"/>
            </a:endParaRP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r>
              <a:rPr lang="pt-BR" sz="1400" dirty="0" smtClean="0">
                <a:latin typeface="Arial" pitchFamily="34" charset="0"/>
                <a:cs typeface="Arial" pitchFamily="34" charset="0"/>
              </a:rPr>
              <a:t>A definição dos serviços realizados por Open Item, são configurados através das tabelas GLOBAL_OPEN_ITEM_ID_MAP onde os elementos são ligados ao Open Item e CONTROLE_NUM_NOTAS_FISCAIS onde os Open Item são ligados às filias.</a:t>
            </a:r>
          </a:p>
          <a:p>
            <a:endParaRPr lang="pt-BR" sz="1400" dirty="0">
              <a:latin typeface="Arial" pitchFamily="34" charset="0"/>
              <a:cs typeface="Arial" pitchFamily="34" charset="0"/>
            </a:endParaRPr>
          </a:p>
          <a:p>
            <a:r>
              <a:rPr lang="pt-BR" sz="1400" dirty="0" smtClean="0">
                <a:latin typeface="Arial" pitchFamily="34" charset="0"/>
                <a:cs typeface="Arial" pitchFamily="34" charset="0"/>
              </a:rPr>
              <a:t>Com essa nova estrutura é muito importante em tempo de definição da demanda que sejam indicados quais os usos são utilizados por terminais móveis, quais os usos utilizados por terminais fixos R1 e quais usos utilizados por terminais fixos R2. Esse mapeamento é fundamental para um correta configuração dos Open Itens e seus serviços.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9461" y="2885905"/>
            <a:ext cx="6730777" cy="148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091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. DE CONFIG. </a:t>
            </a:r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n Items P</a:t>
            </a:r>
            <a:endParaRPr lang="en-US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90895146"/>
              </p:ext>
            </p:extLst>
          </p:nvPr>
        </p:nvGraphicFramePr>
        <p:xfrm>
          <a:off x="2785398" y="1837316"/>
          <a:ext cx="3573204" cy="47418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35220" y="1153391"/>
            <a:ext cx="78255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 smtClean="0">
                <a:latin typeface="Arial" pitchFamily="34" charset="0"/>
                <a:cs typeface="Arial" pitchFamily="34" charset="0"/>
              </a:rPr>
              <a:t>Tabelas de Configuração de Arbor para os Novos Open </a:t>
            </a:r>
            <a:r>
              <a:rPr lang="pt-BR" sz="1200" dirty="0" err="1" smtClean="0">
                <a:latin typeface="Arial" pitchFamily="34" charset="0"/>
                <a:cs typeface="Arial" pitchFamily="34" charset="0"/>
              </a:rPr>
              <a:t>Items</a:t>
            </a:r>
            <a:r>
              <a:rPr lang="pt-BR" sz="1200" dirty="0" smtClean="0">
                <a:latin typeface="Arial" pitchFamily="34" charset="0"/>
                <a:cs typeface="Arial" pitchFamily="34" charset="0"/>
              </a:rPr>
              <a:t>. Nas tabelas seguintes é necessário uma configuração em cada para garantir que todos os processos funcionem conforme o esperado. Exemplo de processos, são BIP/</a:t>
            </a:r>
            <a:r>
              <a:rPr lang="pt-BR" sz="1200" dirty="0" err="1" smtClean="0">
                <a:latin typeface="Arial" pitchFamily="34" charset="0"/>
                <a:cs typeface="Arial" pitchFamily="34" charset="0"/>
              </a:rPr>
              <a:t>Billing</a:t>
            </a:r>
            <a:r>
              <a:rPr lang="pt-BR" sz="1200" dirty="0" smtClean="0">
                <a:latin typeface="Arial" pitchFamily="34" charset="0"/>
                <a:cs typeface="Arial" pitchFamily="34" charset="0"/>
              </a:rPr>
              <a:t>, Ajustes em Massa e Exibição de BIF/Bill.</a:t>
            </a:r>
            <a:endParaRPr lang="pt-BR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21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. DE CONFIG. </a:t>
            </a:r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n Items 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9545" y="1226127"/>
            <a:ext cx="7990610" cy="4524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400" b="1" dirty="0"/>
              <a:t>TBI_OPEN_ITEM </a:t>
            </a:r>
            <a:r>
              <a:rPr lang="pt-BR" sz="1400" dirty="0"/>
              <a:t>- Indica origem do Open Item (móvel ou fixa) e modelo de ICMS basicamente.</a:t>
            </a:r>
          </a:p>
          <a:p>
            <a:endParaRPr lang="pt-BR" sz="1400" dirty="0" smtClean="0"/>
          </a:p>
          <a:p>
            <a:r>
              <a:rPr lang="pt-BR" sz="1400" b="1" dirty="0" smtClean="0"/>
              <a:t>OIBIF_EMPRESAS </a:t>
            </a:r>
            <a:r>
              <a:rPr lang="pt-BR" sz="1400" dirty="0"/>
              <a:t>- Endereço de cada filial do Open Item.</a:t>
            </a:r>
          </a:p>
          <a:p>
            <a:endParaRPr lang="pt-BR" sz="1400" dirty="0" smtClean="0"/>
          </a:p>
          <a:p>
            <a:r>
              <a:rPr lang="pt-BR" sz="1400" b="1" dirty="0" smtClean="0"/>
              <a:t>CONTROLE_NUM_NOTAS_FISCAIS </a:t>
            </a:r>
            <a:r>
              <a:rPr lang="pt-BR" sz="1400" dirty="0"/>
              <a:t>- Dados de numeração das notas fiscais.</a:t>
            </a:r>
          </a:p>
          <a:p>
            <a:endParaRPr lang="pt-BR" sz="1400" dirty="0" smtClean="0"/>
          </a:p>
          <a:p>
            <a:r>
              <a:rPr lang="pt-BR" sz="1400" b="1" dirty="0" smtClean="0"/>
              <a:t>TB_OIBIF_CFG_CSP </a:t>
            </a:r>
            <a:r>
              <a:rPr lang="pt-BR" sz="1400" dirty="0"/>
              <a:t>- Informa o código de seleção da prestadora para Open Items de voz.</a:t>
            </a:r>
          </a:p>
          <a:p>
            <a:endParaRPr lang="pt-BR" sz="1400" dirty="0" smtClean="0"/>
          </a:p>
          <a:p>
            <a:r>
              <a:rPr lang="pt-BR" sz="1400" b="1" dirty="0" smtClean="0"/>
              <a:t>REP_TRAD_EOT_ANATEL_COD_OI </a:t>
            </a:r>
            <a:r>
              <a:rPr lang="pt-BR" sz="1400" dirty="0"/>
              <a:t>- Informações sobre as filiais segundo códigos de EOT definidos pela Anatel.</a:t>
            </a:r>
          </a:p>
          <a:p>
            <a:endParaRPr lang="pt-BR" sz="1400" dirty="0" smtClean="0"/>
          </a:p>
          <a:p>
            <a:r>
              <a:rPr lang="pt-BR" sz="1400" b="1" dirty="0" smtClean="0"/>
              <a:t>INTERIRM_CHARGE_TYPES </a:t>
            </a:r>
            <a:r>
              <a:rPr lang="pt-BR" sz="1400" dirty="0"/>
              <a:t>- As NRCs de parcelamento de dívida de cada Open Item devem ser inseridas nesta </a:t>
            </a:r>
            <a:endParaRPr lang="pt-BR" sz="1400" dirty="0" smtClean="0"/>
          </a:p>
          <a:p>
            <a:r>
              <a:rPr lang="pt-BR" sz="1400" dirty="0" smtClean="0"/>
              <a:t>tabela</a:t>
            </a:r>
            <a:r>
              <a:rPr lang="pt-BR" sz="1400" dirty="0"/>
              <a:t>.</a:t>
            </a:r>
          </a:p>
          <a:p>
            <a:endParaRPr lang="pt-BR" sz="1400" dirty="0" smtClean="0"/>
          </a:p>
          <a:p>
            <a:r>
              <a:rPr lang="pt-BR" sz="1400" b="1" dirty="0" smtClean="0"/>
              <a:t>TBI_CFG_IDS_MASSA </a:t>
            </a:r>
            <a:r>
              <a:rPr lang="pt-BR" sz="1400" dirty="0"/>
              <a:t>- Esta tabela é uma espécie de índice para os ADJ_TRANS_CODE das linhas de ajuste configuradas para contestação em massa do Open Ite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endParaRPr lang="en-US" sz="1400" dirty="0">
              <a:latin typeface="Arial" pitchFamily="34" charset="0"/>
              <a:cs typeface="Arial" pitchFamily="34" charset="0"/>
            </a:endParaRPr>
          </a:p>
          <a:p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516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A89A0EB-4726-431D-BEE3-8EBC55FC0D9F}"/>
</file>

<file path=customXml/itemProps2.xml><?xml version="1.0" encoding="utf-8"?>
<ds:datastoreItem xmlns:ds="http://schemas.openxmlformats.org/officeDocument/2006/customXml" ds:itemID="{5872C164-4DAB-46CD-B9A3-ED911C39D784}"/>
</file>

<file path=customXml/itemProps3.xml><?xml version="1.0" encoding="utf-8"?>
<ds:datastoreItem xmlns:ds="http://schemas.openxmlformats.org/officeDocument/2006/customXml" ds:itemID="{D2786AF2-F1DF-406C-AFE4-206740C43600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2127</TotalTime>
  <Words>729</Words>
  <Application>Microsoft Office PowerPoint</Application>
  <PresentationFormat>On-screen Show (4:3)</PresentationFormat>
  <Paragraphs>90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Accenture_Image_Pencils_Letter</vt:lpstr>
      <vt:lpstr>Accenture Management Consulting Accordian Leafes</vt:lpstr>
      <vt:lpstr>think-cell Slide</vt:lpstr>
      <vt:lpstr>PowerPoint Presentation</vt:lpstr>
      <vt:lpstr>TREINAMENTO DE MÓD. DE CONFIG. Open Items P</vt:lpstr>
      <vt:lpstr>TREINAMENTO DE MÓD. DE CONFIG. Open Items P</vt:lpstr>
      <vt:lpstr>TREINAMENTO DE MÓD. DE CONFIG. Open Items P</vt:lpstr>
      <vt:lpstr>TREINAMENTO DE MÓD. DE CONFIG. Open Items P</vt:lpstr>
      <vt:lpstr>TREINAMENTO DE MÓD. DE CONFIG. Open Items P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Teixeira, Julio Cesar</cp:lastModifiedBy>
  <cp:revision>151</cp:revision>
  <dcterms:created xsi:type="dcterms:W3CDTF">2015-07-20T19:08:40Z</dcterms:created>
  <dcterms:modified xsi:type="dcterms:W3CDTF">2015-11-19T20:3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